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5"/>
    <p:sldMasterId id="2147483687" r:id="rId6"/>
    <p:sldMasterId id="2147483699" r:id="rId7"/>
  </p:sldMasterIdLst>
  <p:notesMasterIdLst>
    <p:notesMasterId r:id="rId11"/>
  </p:notesMasterIdLst>
  <p:handoutMasterIdLst>
    <p:handoutMasterId r:id="rId12"/>
  </p:handoutMasterIdLst>
  <p:sldIdLst>
    <p:sldId id="277" r:id="rId8"/>
    <p:sldId id="2145705594" r:id="rId9"/>
    <p:sldId id="2145705593" r:id="rId10"/>
  </p:sldIdLst>
  <p:sldSz cx="12192000" cy="6858000"/>
  <p:notesSz cx="7010400" cy="92964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&amp; content" id="{AEEF91B5-C040-418C-A7EF-D396E8C5FE21}">
          <p14:sldIdLst>
            <p14:sldId id="277"/>
            <p14:sldId id="2145705594"/>
            <p14:sldId id="2145705593"/>
          </p14:sldIdLst>
        </p14:section>
        <p14:section name="Basic text box" id="{DCD4DD07-CAF7-4E7A-9DCD-CDE5ABF2F349}">
          <p14:sldIdLst/>
        </p14:section>
        <p14:section name="Infographics" id="{C4E083B3-F14A-4392-9B82-0F42DAC53658}">
          <p14:sldIdLst/>
        </p14:section>
        <p14:section name="End &amp; Contact" id="{7D930A8E-F6E7-47DF-97AA-43BE2C93C7F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Rastogi-Kelly, Vandana (DESE)" initials="R(" lastIdx="2" clrIdx="6">
    <p:extLst>
      <p:ext uri="{19B8F6BF-5375-455C-9EA6-DF929625EA0E}">
        <p15:presenceInfo xmlns:p15="http://schemas.microsoft.com/office/powerpoint/2012/main" userId="S::vandana.r.rastogi-kelly@mass.gov::04ea3925-efd3-4cb6-91ff-2bb834262727" providerId="AD"/>
      </p:ext>
    </p:extLst>
  </p:cmAuthor>
  <p:cmAuthor id="1" name="Marchese, Nina (DESE)" initials="M(" lastIdx="8" clrIdx="0">
    <p:extLst>
      <p:ext uri="{19B8F6BF-5375-455C-9EA6-DF929625EA0E}">
        <p15:presenceInfo xmlns:p15="http://schemas.microsoft.com/office/powerpoint/2012/main" userId="S::nina.m.marchese@mass.gov::c064ef28-27b3-4c11-bd04-f9be75850966" providerId="AD"/>
      </p:ext>
    </p:extLst>
  </p:cmAuthor>
  <p:cmAuthor id="8" name="Camacho, Jamie L. (DESE)" initials="C(" lastIdx="1" clrIdx="7">
    <p:extLst>
      <p:ext uri="{19B8F6BF-5375-455C-9EA6-DF929625EA0E}">
        <p15:presenceInfo xmlns:p15="http://schemas.microsoft.com/office/powerpoint/2012/main" userId="S::jamie.l.camacho@mass.gov::21f49f1e-e593-4860-b32e-bdd5656b5338" providerId="AD"/>
      </p:ext>
    </p:extLst>
  </p:cmAuthor>
  <p:cmAuthor id="2" name="Cote, Andrea (DESE)" initials="C(" lastIdx="2" clrIdx="1">
    <p:extLst>
      <p:ext uri="{19B8F6BF-5375-455C-9EA6-DF929625EA0E}">
        <p15:presenceInfo xmlns:p15="http://schemas.microsoft.com/office/powerpoint/2012/main" userId="S::andrea.j.cote@mass.gov::2daef489-b5e8-4fe6-8a49-16de58dc3def" providerId="AD"/>
      </p:ext>
    </p:extLst>
  </p:cmAuthor>
  <p:cmAuthor id="9" name="April.Rist" initials="Ap" lastIdx="1" clrIdx="8">
    <p:extLst>
      <p:ext uri="{19B8F6BF-5375-455C-9EA6-DF929625EA0E}">
        <p15:presenceInfo xmlns:p15="http://schemas.microsoft.com/office/powerpoint/2012/main" userId="S::april.rist_ssosma.org#ext#@massgov.onmicrosoft.com::3e763295-8668-49fb-9654-3f4606d19e17" providerId="AD"/>
      </p:ext>
    </p:extLst>
  </p:cmAuthor>
  <p:cmAuthor id="3" name="Alvarez, Iraida (DESE)" initials="A(" lastIdx="27" clrIdx="2">
    <p:extLst>
      <p:ext uri="{19B8F6BF-5375-455C-9EA6-DF929625EA0E}">
        <p15:presenceInfo xmlns:p15="http://schemas.microsoft.com/office/powerpoint/2012/main" userId="S::iraida.j.alvarez@mass.gov::66b89c24-7507-40c7-9620-66ed0feaf784" providerId="AD"/>
      </p:ext>
    </p:extLst>
  </p:cmAuthor>
  <p:cmAuthor id="10" name="April Rist" initials="AR" lastIdx="3" clrIdx="9">
    <p:extLst>
      <p:ext uri="{19B8F6BF-5375-455C-9EA6-DF929625EA0E}">
        <p15:presenceInfo xmlns:p15="http://schemas.microsoft.com/office/powerpoint/2012/main" userId="S::arist@lpvec.org::2e87416d-317a-47c3-bd73-da4794f60f51" providerId="AD"/>
      </p:ext>
    </p:extLst>
  </p:cmAuthor>
  <p:cmAuthor id="4" name="Johnston, Russell (DESE)" initials="J(" lastIdx="9" clrIdx="3">
    <p:extLst>
      <p:ext uri="{19B8F6BF-5375-455C-9EA6-DF929625EA0E}">
        <p15:presenceInfo xmlns:p15="http://schemas.microsoft.com/office/powerpoint/2012/main" userId="S::russell.johnston@mass.gov::7c120461-dde6-4347-b09f-f9c0472c7017" providerId="AD"/>
      </p:ext>
    </p:extLst>
  </p:cmAuthor>
  <p:cmAuthor id="11" name="McMahon, Erin K." initials="MEK" lastIdx="1" clrIdx="10">
    <p:extLst>
      <p:ext uri="{19B8F6BF-5375-455C-9EA6-DF929625EA0E}">
        <p15:presenceInfo xmlns:p15="http://schemas.microsoft.com/office/powerpoint/2012/main" userId="S::erin.k.mcmahon@mass.gov::2ec7950c-90d5-4ed4-8535-d580c3159c0a" providerId="AD"/>
      </p:ext>
    </p:extLst>
  </p:cmAuthor>
  <p:cmAuthor id="5" name="Viviani, Lauren (DESE)" initials="V(" lastIdx="4" clrIdx="4">
    <p:extLst>
      <p:ext uri="{19B8F6BF-5375-455C-9EA6-DF929625EA0E}">
        <p15:presenceInfo xmlns:p15="http://schemas.microsoft.com/office/powerpoint/2012/main" userId="S::lauren.m.viviani@mass.gov::a2788da4-dd76-4dfc-998f-31fcce3f4a22" providerId="AD"/>
      </p:ext>
    </p:extLst>
  </p:cmAuthor>
  <p:cmAuthor id="6" name="Valentine, Teri (DESE)" initials="V(" lastIdx="2" clrIdx="5">
    <p:extLst>
      <p:ext uri="{19B8F6BF-5375-455C-9EA6-DF929625EA0E}">
        <p15:presenceInfo xmlns:p15="http://schemas.microsoft.com/office/powerpoint/2012/main" userId="S::teri.w.valentine@mass.gov::03feb773-6935-44ed-b6af-bbadae3969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852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 autoAdjust="0"/>
    <p:restoredTop sz="93304" autoAdjust="0"/>
  </p:normalViewPr>
  <p:slideViewPr>
    <p:cSldViewPr snapToGrid="0">
      <p:cViewPr varScale="1">
        <p:scale>
          <a:sx n="75" d="100"/>
          <a:sy n="75" d="100"/>
        </p:scale>
        <p:origin x="54" y="57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F6ED4749-19D8-4E36-90F7-E6B45104401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05348" cy="474208"/>
          </a:xfrm>
          <a:prstGeom prst="rect">
            <a:avLst/>
          </a:prstGeom>
        </p:spPr>
        <p:txBody>
          <a:bodyPr vert="horz" lIns="94947" tIns="47474" rIns="94947" bIns="4747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A48534B-5D3C-4807-A728-1CB2BECA5F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59181" y="0"/>
            <a:ext cx="3105348" cy="474208"/>
          </a:xfrm>
          <a:prstGeom prst="rect">
            <a:avLst/>
          </a:prstGeom>
        </p:spPr>
        <p:txBody>
          <a:bodyPr vert="horz" lIns="94947" tIns="47474" rIns="94947" bIns="47474" rtlCol="0"/>
          <a:lstStyle>
            <a:lvl1pPr algn="r">
              <a:defRPr sz="1200"/>
            </a:lvl1pPr>
          </a:lstStyle>
          <a:p>
            <a:fld id="{B49EE748-B40B-414E-BAA7-F3C486CFB5C1}" type="datetimeFigureOut">
              <a:rPr lang="zh-CN" altLang="en-US" smtClean="0"/>
              <a:pPr/>
              <a:t>2020/10/21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7F99B70-1AD7-4C7C-A906-8B56C25C43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77134"/>
            <a:ext cx="3105348" cy="474207"/>
          </a:xfrm>
          <a:prstGeom prst="rect">
            <a:avLst/>
          </a:prstGeom>
        </p:spPr>
        <p:txBody>
          <a:bodyPr vert="horz" lIns="94947" tIns="47474" rIns="94947" bIns="4747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20F0F0-CF1A-496E-BED7-9E4922DA6A0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59181" y="8977134"/>
            <a:ext cx="3105348" cy="474207"/>
          </a:xfrm>
          <a:prstGeom prst="rect">
            <a:avLst/>
          </a:prstGeom>
        </p:spPr>
        <p:txBody>
          <a:bodyPr vert="horz" lIns="94947" tIns="47474" rIns="94947" bIns="47474" rtlCol="0" anchor="b"/>
          <a:lstStyle>
            <a:lvl1pPr algn="r">
              <a:defRPr sz="1200"/>
            </a:lvl1pPr>
          </a:lstStyle>
          <a:p>
            <a:fld id="{C418C9F7-038D-4319-89ED-95033548141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93968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05348" cy="474208"/>
          </a:xfrm>
          <a:prstGeom prst="rect">
            <a:avLst/>
          </a:prstGeom>
        </p:spPr>
        <p:txBody>
          <a:bodyPr vert="horz" lIns="94947" tIns="47474" rIns="94947" bIns="47474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59181" y="0"/>
            <a:ext cx="3105348" cy="474208"/>
          </a:xfrm>
          <a:prstGeom prst="rect">
            <a:avLst/>
          </a:prstGeom>
        </p:spPr>
        <p:txBody>
          <a:bodyPr vert="horz" lIns="94947" tIns="47474" rIns="94947" bIns="47474" rtlCol="0"/>
          <a:lstStyle>
            <a:lvl1pPr algn="r">
              <a:defRPr sz="1200"/>
            </a:lvl1pPr>
          </a:lstStyle>
          <a:p>
            <a:fld id="{27A38425-D63F-4DFC-BD0C-2F1E5D93D1F4}" type="datetimeFigureOut">
              <a:rPr lang="zh-CN" altLang="en-US" smtClean="0"/>
              <a:pPr/>
              <a:t>2020/10/2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747713" y="1181100"/>
            <a:ext cx="5670550" cy="31892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47" tIns="47474" rIns="94947" bIns="4747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6619" y="4548457"/>
            <a:ext cx="5732949" cy="3721466"/>
          </a:xfrm>
          <a:prstGeom prst="rect">
            <a:avLst/>
          </a:prstGeom>
        </p:spPr>
        <p:txBody>
          <a:bodyPr vert="horz" lIns="94947" tIns="47474" rIns="94947" bIns="47474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977134"/>
            <a:ext cx="3105348" cy="474207"/>
          </a:xfrm>
          <a:prstGeom prst="rect">
            <a:avLst/>
          </a:prstGeom>
        </p:spPr>
        <p:txBody>
          <a:bodyPr vert="horz" lIns="94947" tIns="47474" rIns="94947" bIns="47474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59181" y="8977134"/>
            <a:ext cx="3105348" cy="474207"/>
          </a:xfrm>
          <a:prstGeom prst="rect">
            <a:avLst/>
          </a:prstGeom>
        </p:spPr>
        <p:txBody>
          <a:bodyPr vert="horz" lIns="94947" tIns="47474" rIns="94947" bIns="47474" rtlCol="0" anchor="b"/>
          <a:lstStyle>
            <a:lvl1pPr algn="r">
              <a:defRPr sz="1200"/>
            </a:lvl1pPr>
          </a:lstStyle>
          <a:p>
            <a:fld id="{ADCCD5AF-71CD-4C88-AC55-E7BE057B2D3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785833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CCD5AF-71CD-4C88-AC55-E7BE057B2D3C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535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image" Target="../media/image2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2.bin"/><Relationship Id="rId4" Type="http://schemas.openxmlformats.org/officeDocument/2006/relationships/tags" Target="../tags/tag24.xml"/><Relationship Id="rId9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2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image" Target="../media/image3.emf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image" Target="../media/image1.emf"/><Relationship Id="rId4" Type="http://schemas.openxmlformats.org/officeDocument/2006/relationships/tags" Target="../tags/tag104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2.emf"/><Relationship Id="rId2" Type="http://schemas.openxmlformats.org/officeDocument/2006/relationships/tags" Target="../tags/tag112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11" Type="http://schemas.openxmlformats.org/officeDocument/2006/relationships/image" Target="../media/image1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4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2.emf"/><Relationship Id="rId4" Type="http://schemas.openxmlformats.org/officeDocument/2006/relationships/tags" Target="../tags/tag38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9.xml"/><Relationship Id="rId11" Type="http://schemas.openxmlformats.org/officeDocument/2006/relationships/image" Target="../media/image3.emf"/><Relationship Id="rId5" Type="http://schemas.openxmlformats.org/officeDocument/2006/relationships/tags" Target="../tags/tag118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17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tags" Target="../tags/tag46.xml"/><Relationship Id="rId11" Type="http://schemas.openxmlformats.org/officeDocument/2006/relationships/image" Target="../media/image2.emf"/><Relationship Id="rId5" Type="http://schemas.openxmlformats.org/officeDocument/2006/relationships/tags" Target="../tags/tag45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6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.emf"/><Relationship Id="rId4" Type="http://schemas.openxmlformats.org/officeDocument/2006/relationships/tags" Target="../tags/tag51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vmlDrawing" Target="../drawings/vmlDrawing7.vml"/><Relationship Id="rId6" Type="http://schemas.openxmlformats.org/officeDocument/2006/relationships/tags" Target="../tags/tag59.xml"/><Relationship Id="rId11" Type="http://schemas.openxmlformats.org/officeDocument/2006/relationships/image" Target="../media/image2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3.emf"/><Relationship Id="rId2" Type="http://schemas.openxmlformats.org/officeDocument/2006/relationships/tags" Target="../tags/tag62.xml"/><Relationship Id="rId1" Type="http://schemas.openxmlformats.org/officeDocument/2006/relationships/vmlDrawing" Target="../drawings/vmlDrawing8.vml"/><Relationship Id="rId6" Type="http://schemas.openxmlformats.org/officeDocument/2006/relationships/tags" Target="../tags/tag6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tags" Target="../tags/tag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3.emf"/><Relationship Id="rId2" Type="http://schemas.openxmlformats.org/officeDocument/2006/relationships/tags" Target="../tags/tag70.xml"/><Relationship Id="rId1" Type="http://schemas.openxmlformats.org/officeDocument/2006/relationships/vmlDrawing" Target="../drawings/vmlDrawing9.vml"/><Relationship Id="rId6" Type="http://schemas.openxmlformats.org/officeDocument/2006/relationships/tags" Target="../tags/tag7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2.emf"/><Relationship Id="rId2" Type="http://schemas.openxmlformats.org/officeDocument/2006/relationships/tags" Target="../tags/tag7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F9F2487-C04B-4E89-A85F-F145412FF7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36347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F9F2487-C04B-4E89-A85F-F145412FF7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956CE3-D200-4AF9-99E3-3BD7CEED13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EC187452-EF26-4A49-8688-4231C110BE0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49486" y="2406303"/>
            <a:ext cx="9983836" cy="52322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ocumenttype">
            <a:extLst>
              <a:ext uri="{FF2B5EF4-FFF2-40B4-BE49-F238E27FC236}">
                <a16:creationId xmlns:a16="http://schemas.microsoft.com/office/drawing/2014/main" id="{352FE74A-18F1-4E97-9130-944A69675F90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49485" y="4539678"/>
            <a:ext cx="998146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FD5DF6FA-4E98-4564-8E2E-E3C01BE738EC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49485" y="3611491"/>
            <a:ext cx="9981467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0" dirty="0"/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C75C7875-9F5B-4F8C-8843-0F48FA31017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7924801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“This deck does not constitute legal, medical, accounting, tax, or other regulated advice, such as professional advice normally provided by licensed or certified practitioners.”</a:t>
            </a:r>
          </a:p>
        </p:txBody>
      </p:sp>
      <p:sp>
        <p:nvSpPr>
          <p:cNvPr id="11" name="Documenttype">
            <a:extLst>
              <a:ext uri="{FF2B5EF4-FFF2-40B4-BE49-F238E27FC236}">
                <a16:creationId xmlns:a16="http://schemas.microsoft.com/office/drawing/2014/main" id="{0B8B8608-922F-4E1E-AED3-C353CE198888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49486" y="5791113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US" sz="1050" i="1" dirty="0"/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528365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874AD5-EF74-4210-B94F-F40285F6D1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702424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1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874AD5-EF74-4210-B94F-F40285F6D1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D1DF5CE8-D561-43C7-AB94-A5D89A58CD8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3CEBF83-E241-4D4D-9783-E5C68CC3AF4E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7" y="6501670"/>
            <a:ext cx="6967303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4B1AC38-9340-4F04-B7F9-727A4C19843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E0989CC3-989C-4053-8FFF-166827696BD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3736"/>
            <a:ext cx="6967303" cy="338554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74755987-3A66-4AF7-AF0A-FD37AD28002D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7" y="525929"/>
            <a:ext cx="696730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A176909-1827-47A3-9269-999921D650E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E7EE37E3-110B-4CCF-BDA9-78DE4A64FA36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028368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916077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CB8AD3-3DED-4C3C-8856-6127F6F359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4E3119B5-3D7F-4B88-8761-E5447BB52B0A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5" y="6501670"/>
            <a:ext cx="792480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noProof="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2B2936D-0579-49C0-B9F2-C284240312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126BA874-D683-4AD6-9136-C6CB0A00074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3736"/>
            <a:ext cx="7924800" cy="3385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014A53DA-65EF-4EBF-B2CC-035C915C32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525929"/>
            <a:ext cx="7924800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C049C98-96F1-4F55-B79F-1572DAC8C7D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61C2D8E6-F8F1-4FA3-994A-119390ACFF51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3904658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B36C25-3154-4643-A5D1-40C663C76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06583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9"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B36C25-3154-4643-A5D1-40C663C76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261CA95-BAC8-4094-B77C-B413C63AA4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E3C08BE2-DFA5-4DF3-81CF-C757EBD94F2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7765112B-94E4-48E7-B473-F1F8C57D1D8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BFF4B3B8-EB8B-4398-9258-E4FEB275732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Documenttype">
            <a:extLst>
              <a:ext uri="{FF2B5EF4-FFF2-40B4-BE49-F238E27FC236}">
                <a16:creationId xmlns:a16="http://schemas.microsoft.com/office/drawing/2014/main" id="{1A6FC294-D020-45FF-B13F-B960E542BFDC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2428459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5F7C92-D5CD-4EDC-B5FB-B32BFADF4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982921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5F7C92-D5CD-4EDC-B5FB-B32BFADF4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047C437-9378-4088-A289-F201ABA447D1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33AE1560-579C-459C-A40A-D7865DE59B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882B8BD-EE7D-4A81-AADC-1A688E7F0FD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253ABF71-6503-4C48-B2E1-8F33E6AC9ABD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25682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6EC4AA-6C84-4EF6-AF4D-BE24FEED67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7299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6EC4AA-6C84-4EF6-AF4D-BE24FEED67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E4946286-E3E6-424F-8C6C-3D00E8A0D3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10773ED9-681A-4C23-9D46-B6F2680699C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Documenttype">
            <a:extLst>
              <a:ext uri="{FF2B5EF4-FFF2-40B4-BE49-F238E27FC236}">
                <a16:creationId xmlns:a16="http://schemas.microsoft.com/office/drawing/2014/main" id="{B44DD919-5728-4942-B695-1A8A92813B5B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854663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0C49C-969E-4589-85F2-A582461221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DAA259A-FF9F-4B17-B14B-7C49A5FD74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3810F2-0716-4DBB-8179-6FB5032FE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1B8072-0A06-4B85-957F-F76191A9A9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0DD8BA-F313-41E3-B0AC-E2EBD086D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33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497E6E-C7FE-46BB-9280-CA9B057B50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3A4061-63E2-44CE-B85D-7DEBA91EF9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4E5856-76B3-47E2-9EB3-4D8F61A76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2B5A97-2234-41EE-8397-901087B655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2B9F9D-10DC-4BF1-BD16-FE721CCEF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6690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6DA7C-14E7-4C91-9C67-FDB484241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9BF32D-455B-4C5B-BB5F-9114051635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770395-090E-442A-949E-8662378958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E5C1E5-2EF5-4933-8B24-BFA7D7FA6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CAF13F-1E89-4021-8090-94B045463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010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EC7AC-D805-494C-982A-E985D7204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F0BB92-643E-4F2F-805F-1CC8DD385E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F7C402-B3AD-4F00-B9EE-ABD626A4D7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3EC481E-C297-4561-86E4-E7B680680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E09EAA-7C86-4F3B-846A-39AB0158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18BD52-D7B2-4992-92DF-CC6FCF3580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893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CE540-450E-4FD2-98BD-A6B7025F6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B3610B-8BA7-47BC-A45D-7223C24B1B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50FA00-9A72-4E70-B2A5-1F690A055A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571C26-F0AD-4D91-BD01-E68D8AFB95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F7A8F01-768E-4244-8AA8-C05CFA1CE4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B919217-39B0-4C26-9A3C-37947A5D17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8B6112-17D5-44D9-AD3F-B6FADA14D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6DCD30D-C59B-4306-8B2A-126796F3A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4095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809638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6743208-2407-42A5-AA96-0B30899A9CB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25929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6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3736"/>
            <a:ext cx="11082528" cy="33855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ltGray">
          <a:xfrm>
            <a:off x="11301984" y="666942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DDE7FD00-47B4-4101-9C87-415DAC08A93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335AEFB6-D0FB-42BD-A7D9-B038003F9038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394967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59192-A11E-47D8-8E17-79143FF4D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D5FD41-FE56-436E-A091-2C6C14685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0E39D4-44CF-40AB-B5AF-13C36EBC7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0517FA-E484-49A9-B7E4-B3E283BDC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2140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7A0638F-A4B0-477E-8160-DE8C1E417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133E1A-ECB3-4691-BFD3-04EE9E5F3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9579DA-2B37-44D2-AAE5-8C61F515C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1499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B5FE1-1A5C-4BBA-91D2-26447640BB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F0CE78-77C1-4F36-80B3-CFBD906FB0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9060D2-F3E6-408A-AAE9-12CA724B4D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6279D-F4EA-4150-9B73-FAD63BDD2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502365-81A1-4852-A0E2-AB3353C808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59A89B-BAF2-4192-88E4-6AB41A37DF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8535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161390-59FA-4FEB-BBC7-A47ED74857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6025884-FAC4-41E3-B319-CC0983DC07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F6B7FE1-713F-4FDD-B398-417AE4BDEF3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095E89-E76C-4C6C-9D87-7FB9D3764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ACBE7C-6522-4B6A-9F62-DA4BB21C9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32D424-DC7A-4596-B925-33412A1C6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9091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AC280C-39D9-4246-9D57-3B923ECEB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731825-1844-425D-870A-FF30A800D4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8DEA7-87D4-47EE-824C-06326DECC4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CEDBC5-9425-4898-9002-92EBAB45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68909-A5D1-4F72-816C-D58085151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9263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762CA65-8CE4-41AD-A899-3E4F3044D8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17AF72-051B-4BBA-94A1-75BEC3C107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5CCC32-26D7-4A7B-BF4F-D31D79218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87A1F1-35E7-4CB8-B37A-2CD19F61D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3ABD12-4B95-48B4-9C05-66DA80CBFC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1782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A16031F9-E14B-462C-B8F1-B51AFEC42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6654" y="1958196"/>
            <a:ext cx="6678954" cy="1656272"/>
          </a:xfrm>
          <a:noFill/>
        </p:spPr>
        <p:txBody>
          <a:bodyPr wrap="square" rtlCol="0">
            <a:noAutofit/>
          </a:bodyPr>
          <a:lstStyle>
            <a:lvl1pPr>
              <a:defRPr lang="zh-CN" altLang="en-US" sz="4000" b="0" dirty="0">
                <a:solidFill>
                  <a:schemeClr val="bg1"/>
                </a:solidFill>
                <a:latin typeface="Segoe" panose="020B0503040204020203" pitchFamily="34" charset="0"/>
                <a:ea typeface="+mn-ea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Main Title Here</a:t>
            </a:r>
            <a:endParaRPr lang="zh-CN" alt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DDA73CA-A448-4132-A3BC-CF4C9ED91A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17389" y="3650895"/>
            <a:ext cx="6659592" cy="826214"/>
          </a:xfrm>
          <a:noFill/>
        </p:spPr>
        <p:txBody>
          <a:bodyPr wrap="square" rtlCol="0" anchor="t" anchorCtr="0">
            <a:noAutofit/>
          </a:bodyPr>
          <a:lstStyle>
            <a:lvl1pPr marL="0" indent="0">
              <a:buNone/>
              <a:defRPr lang="zh-CN" altLang="en-US" sz="2400" dirty="0">
                <a:solidFill>
                  <a:schemeClr val="bg1"/>
                </a:solidFill>
                <a:latin typeface="Segoe" panose="020B0503040204020203" pitchFamily="34" charset="0"/>
                <a:cs typeface="Segoe" panose="020B0503040204020203" pitchFamily="34" charset="0"/>
              </a:defRPr>
            </a:lvl1pPr>
          </a:lstStyle>
          <a:p>
            <a:pPr marL="0" lvl="0"/>
            <a:r>
              <a:rPr lang="en-US" altLang="zh-CN"/>
              <a:t>Place Subtitle/Host/Date</a:t>
            </a:r>
            <a:r>
              <a:rPr lang="zh-CN" altLang="en-US"/>
              <a:t> </a:t>
            </a:r>
            <a:r>
              <a:rPr lang="en-US" altLang="zh-CN"/>
              <a:t>Here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526010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2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pic>
        <p:nvPicPr>
          <p:cNvPr id="8" name="图片 7" descr="Massachusetts map.">
            <a:extLst>
              <a:ext uri="{FF2B5EF4-FFF2-40B4-BE49-F238E27FC236}">
                <a16:creationId xmlns:a16="http://schemas.microsoft.com/office/drawing/2014/main" id="{550F10F7-8704-4715-B443-EFB6D73BBC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bg1">
                <a:lumMod val="65000"/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7128" y="1921878"/>
            <a:ext cx="4068567" cy="2563965"/>
          </a:xfrm>
          <a:prstGeom prst="rect">
            <a:avLst/>
          </a:prstGeom>
          <a:noFill/>
        </p:spPr>
      </p:pic>
      <p:sp>
        <p:nvSpPr>
          <p:cNvPr id="9" name="矩形 8" descr="Colored bl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5301464" y="1921878"/>
            <a:ext cx="6890535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Graphic bar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4952999" y="1921878"/>
            <a:ext cx="173182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20">
            <a:extLst>
              <a:ext uri="{FF2B5EF4-FFF2-40B4-BE49-F238E27FC236}">
                <a16:creationId xmlns:a16="http://schemas.microsoft.com/office/drawing/2014/main" id="{8E1396B4-19B0-464B-B28D-6834EE0C27C9}"/>
              </a:ext>
            </a:extLst>
          </p:cNvPr>
          <p:cNvSpPr txBox="1"/>
          <p:nvPr userDrawn="1"/>
        </p:nvSpPr>
        <p:spPr>
          <a:xfrm>
            <a:off x="5417537" y="2189724"/>
            <a:ext cx="6672942" cy="20621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3200">
                <a:solidFill>
                  <a:schemeClr val="bg1"/>
                </a:solidFill>
                <a:latin typeface="Segoe SemiBold" panose="020B0703040204020203" pitchFamily="34" charset="0"/>
                <a:cs typeface="Segoe SemiBold" panose="020B0703040204020203" pitchFamily="34" charset="0"/>
              </a:rPr>
              <a:t>Place Your Very Very Very Very Very Very Very Very Very Very Very Very Very Very Very Very Very Long Main Title Here</a:t>
            </a:r>
            <a:endParaRPr lang="zh-CN" altLang="en-US" sz="3200">
              <a:solidFill>
                <a:schemeClr val="bg1"/>
              </a:solidFill>
              <a:latin typeface="Segoe SemiBold" panose="020B0703040204020203" pitchFamily="34" charset="0"/>
              <a:cs typeface="Segoe SemiBold" panose="020B0703040204020203" pitchFamily="34" charset="0"/>
            </a:endParaRPr>
          </a:p>
        </p:txBody>
      </p:sp>
      <p:sp>
        <p:nvSpPr>
          <p:cNvPr id="12" name="文本框 21">
            <a:extLst>
              <a:ext uri="{FF2B5EF4-FFF2-40B4-BE49-F238E27FC236}">
                <a16:creationId xmlns:a16="http://schemas.microsoft.com/office/drawing/2014/main" id="{A6AA5C36-C54D-41A3-A64E-9114483887CE}"/>
              </a:ext>
            </a:extLst>
          </p:cNvPr>
          <p:cNvSpPr txBox="1"/>
          <p:nvPr userDrawn="1"/>
        </p:nvSpPr>
        <p:spPr>
          <a:xfrm>
            <a:off x="5417537" y="4552460"/>
            <a:ext cx="6672942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altLang="zh-CN" sz="2400">
                <a:solidFill>
                  <a:schemeClr val="accent1">
                    <a:lumMod val="50000"/>
                  </a:schemeClr>
                </a:solidFill>
                <a:latin typeface="Segoe" panose="020B0503040204020203" pitchFamily="34" charset="0"/>
                <a:cs typeface="Segoe" panose="020B0503040204020203" pitchFamily="34" charset="0"/>
              </a:rPr>
              <a:t>Place Subtitle/Host/Date Here</a:t>
            </a:r>
            <a:endParaRPr lang="zh-CN" altLang="en-US" sz="2400">
              <a:solidFill>
                <a:schemeClr val="accent1">
                  <a:lumMod val="50000"/>
                </a:schemeClr>
              </a:solidFill>
              <a:latin typeface="Segoe" panose="020B0503040204020203" pitchFamily="34" charset="0"/>
              <a:cs typeface="Segoe" panose="020B0503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3393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-1"/>
            <a:ext cx="2807594" cy="685800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87625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 descr="Colored background box.">
            <a:extLst>
              <a:ext uri="{FF2B5EF4-FFF2-40B4-BE49-F238E27FC236}">
                <a16:creationId xmlns:a16="http://schemas.microsoft.com/office/drawing/2014/main" id="{70FF4C12-B5A4-42EB-A0E1-FD89DCFAC495}"/>
              </a:ext>
            </a:extLst>
          </p:cNvPr>
          <p:cNvSpPr/>
          <p:nvPr userDrawn="1"/>
        </p:nvSpPr>
        <p:spPr>
          <a:xfrm>
            <a:off x="1" y="1948543"/>
            <a:ext cx="2034861" cy="200297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098967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B2D7514F-25FA-4E78-87EA-9310B6315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5017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B2D7514F-25FA-4E78-87EA-9310B6315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2841F1-1D64-4B85-BE8E-90E9A69032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734B9D0F-511D-4CA0-B397-BC4944905EF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A8B4F948-0FE2-4D04-9E39-993C069D179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CB91F29-3E8E-4E50-9B98-43F571F5A08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9" name="2. Slide Title">
            <a:extLst>
              <a:ext uri="{FF2B5EF4-FFF2-40B4-BE49-F238E27FC236}">
                <a16:creationId xmlns:a16="http://schemas.microsoft.com/office/drawing/2014/main" id="{EEB17CCB-26D9-483F-95BA-B527BFDD8A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06565"/>
            <a:ext cx="3813048" cy="677108"/>
          </a:xfr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9F978F88-888E-4902-AE4E-763730DFD54F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6897107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o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366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51000" indent="-2794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116138" indent="-287338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57721809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1729202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7" descr="The star in the ESE logo.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4301496-3A04-4B17-9688-6289A84D6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429" y="218940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17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35429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8" name="文本占位符 2">
            <a:extLst>
              <a:ext uri="{FF2B5EF4-FFF2-40B4-BE49-F238E27FC236}">
                <a16:creationId xmlns:a16="http://schemas.microsoft.com/office/drawing/2014/main" id="{3F8C2E89-BE57-4EAB-8E44-06A7578A41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313714" y="1336505"/>
            <a:ext cx="5452057" cy="776702"/>
          </a:xfrm>
          <a:solidFill>
            <a:srgbClr val="E38526"/>
          </a:solidFill>
        </p:spPr>
        <p:txBody>
          <a:bodyPr anchor="ctr">
            <a:noAutofit/>
          </a:bodyPr>
          <a:lstStyle>
            <a:lvl1pPr marL="0" indent="0" algn="l">
              <a:buNone/>
              <a:defRPr sz="2800" b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5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433757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  <p:sp>
        <p:nvSpPr>
          <p:cNvPr id="14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13713" y="2204358"/>
            <a:ext cx="5452057" cy="3799267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Arial" panose="020B0604020202020204" pitchFamily="34" charset="0"/>
              <a:buChar char="•"/>
              <a:defRPr sz="2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Courier New" panose="02070309020205020404" pitchFamily="49" charset="0"/>
              <a:buChar char="o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§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Ø"/>
              <a:defRPr sz="1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lnSpc>
                <a:spcPct val="100000"/>
              </a:lnSpc>
              <a:spcAft>
                <a:spcPts val="0"/>
              </a:spcAft>
              <a:buClr>
                <a:srgbClr val="E38526"/>
              </a:buClr>
              <a:buFont typeface="Wingdings" panose="05000000000000000000" pitchFamily="2" charset="2"/>
              <a:buChar char="v"/>
              <a:defRPr sz="18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edit bullet points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u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305164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3" name="图片占位符 2">
            <a:extLst>
              <a:ext uri="{FF2B5EF4-FFF2-40B4-BE49-F238E27FC236}">
                <a16:creationId xmlns:a16="http://schemas.microsoft.com/office/drawing/2014/main" id="{91BACC49-F766-444F-90DC-64E004B0AB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346882"/>
            <a:ext cx="6172200" cy="451416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737304"/>
            <a:ext cx="3932237" cy="313168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Text</a:t>
            </a:r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89AAC3-A063-423A-AB89-4EC9283B8A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567743" y="357819"/>
            <a:ext cx="11370972" cy="552324"/>
          </a:xfrm>
        </p:spPr>
        <p:txBody>
          <a:bodyPr>
            <a:noAutofit/>
          </a:bodyPr>
          <a:lstStyle>
            <a:lvl1pPr>
              <a:defRPr lang="en-US" sz="3000" kern="1200" baseline="0" dirty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文本占位符 3">
            <a:extLst>
              <a:ext uri="{FF2B5EF4-FFF2-40B4-BE49-F238E27FC236}">
                <a16:creationId xmlns:a16="http://schemas.microsoft.com/office/drawing/2014/main" id="{53551CA8-3893-4798-AD18-62C5C646C8C2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839788" y="1346883"/>
            <a:ext cx="3932237" cy="1255534"/>
          </a:xfrm>
        </p:spPr>
        <p:txBody>
          <a:bodyPr>
            <a:noAutofit/>
          </a:bodyPr>
          <a:lstStyle>
            <a:lvl1pPr marL="0" indent="0">
              <a:buNone/>
              <a:defRPr sz="2800" b="1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altLang="zh-CN"/>
              <a:t>Click here to edit subtitle</a:t>
            </a:r>
            <a:endParaRPr lang="zh-CN" alt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50371" y="6352143"/>
            <a:ext cx="7713372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25593720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8245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foot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The star in the ESE logo.">
            <a:extLst>
              <a:ext uri="{FF2B5EF4-FFF2-40B4-BE49-F238E27FC236}">
                <a16:creationId xmlns:a16="http://schemas.microsoft.com/office/drawing/2014/main" id="{234F7B3A-2AAD-4113-B4B3-FCD9CEE213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9C8EADF-3157-4C1F-BCC9-7C1CFA7B92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3913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31380487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824283"/>
            <a:ext cx="12192000" cy="216457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2961565"/>
            <a:ext cx="12192000" cy="2110056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Straight Connector 4" descr="White graphic line."/>
          <p:cNvCxnSpPr/>
          <p:nvPr userDrawn="1"/>
        </p:nvCxnSpPr>
        <p:spPr>
          <a:xfrm>
            <a:off x="1992573" y="3734373"/>
            <a:ext cx="8243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22211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2936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5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3" y="6194908"/>
            <a:ext cx="103692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62789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F2127110-9E20-4E63-ACC1-B73E30E4EF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564020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F2127110-9E20-4E63-ACC1-B73E30E4EF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EFDF5F6E-91B7-43FD-B50F-BF43CDA9D0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C372AF80-95E2-4967-843F-6B78079F3DA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11301984" y="6501670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B107E86E-11CB-41EA-8315-43579BB9C69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6C43D9FF-C745-43A0-B707-D5AB591FB4E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544AA57B-050A-470F-B9D0-A7EB19B84B1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3090450"/>
            <a:ext cx="5065776" cy="677108"/>
          </a:xfr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55D8EEB-2BE1-4282-98D8-53EF303E828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FF46468E-B5D9-4D46-B53F-92250D42CD9A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772872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78EB6-BD2E-4D6E-862A-ED6E403B39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992150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78EB6-BD2E-4D6E-862A-ED6E403B3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BAE6BAF-DF7E-4BB6-8200-BAE77C25D7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7C40733-AAB6-4B1C-9ABF-846569264BB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38FBD4B-CFE7-4BEF-A65B-0A0DFEA034F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984AEBFE-694A-4920-8CC4-377AC0DC09A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919246"/>
            <a:ext cx="11082528" cy="338554"/>
          </a:xfrm>
        </p:spPr>
        <p:txBody>
          <a:bodyPr anchor="b"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71BC29E-3439-42EF-857A-06339F96CBBC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7CB39DD-EF4E-42C9-A79F-7772D544B1BC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6464657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2EA9AE-E627-47C3-91DC-8CA9CDA2B2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23571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2EA9AE-E627-47C3-91DC-8CA9CDA2B2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1939BA-D839-448F-8D61-AD5761E2CB6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C9713CF-4FEA-4739-B0A0-6B196442AEE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7" y="6501670"/>
            <a:ext cx="6469209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2" name="1. On-page tracker">
            <a:extLst>
              <a:ext uri="{FF2B5EF4-FFF2-40B4-BE49-F238E27FC236}">
                <a16:creationId xmlns:a16="http://schemas.microsoft.com/office/drawing/2014/main" id="{128368CE-BC61-4E6B-9355-7EB40FD8048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DDFB2F31-2EDC-46B3-BDCC-C30160A548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1505712" y="3841050"/>
            <a:ext cx="9180576" cy="330796"/>
          </a:xfrm>
        </p:spPr>
        <p:txBody>
          <a:bodyPr anchor="b" anchorCtr="0">
            <a:spAutoFit/>
          </a:bodyPr>
          <a:lstStyle>
            <a:lvl1pPr>
              <a:lnSpc>
                <a:spcPct val="105000"/>
              </a:lnSpc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09099F88-5FFB-4FF9-8B62-5EF51181A82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1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4794E3C-7711-4AF2-84E5-0B386A07C84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Documenttype">
            <a:extLst>
              <a:ext uri="{FF2B5EF4-FFF2-40B4-BE49-F238E27FC236}">
                <a16:creationId xmlns:a16="http://schemas.microsoft.com/office/drawing/2014/main" id="{FD552472-5C1D-460A-A4B4-6CF2E8B85AE3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2530359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F17934EB-F2F5-451C-8BFA-F1B57B7FE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07972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F17934EB-F2F5-451C-8BFA-F1B57B7FE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A2994B40-DF0F-4EE0-8098-73DBD5C3F7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3413760" y="0"/>
            <a:ext cx="8778240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71220653-0E59-43CC-9608-6D9E9A9A645B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7" y="6501670"/>
            <a:ext cx="2521119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1C94DE74-BFF3-427D-B1EB-6EC01224A21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8" y="41598"/>
            <a:ext cx="252111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7EC052A-7EEB-4E98-B92D-8E3E6C89311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48218" y="3636553"/>
            <a:ext cx="2521119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6EDF22DC-CFC6-49A3-985F-D21B951A77A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48218" y="2502262"/>
            <a:ext cx="2521119" cy="1015663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463310E-A1CE-491A-A58B-9DF9FAD834F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2419FD05-7C22-4B7B-A703-31F91DCDD9EF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67496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E317DDE9-4510-4ADA-BC78-E96D245978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33672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E317DDE9-4510-4ADA-BC78-E96D245978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 hidden="1">
            <a:extLst>
              <a:ext uri="{FF2B5EF4-FFF2-40B4-BE49-F238E27FC236}">
                <a16:creationId xmlns:a16="http://schemas.microsoft.com/office/drawing/2014/main" id="{30D7698A-7001-41A3-B997-323E2D93DC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blackGray">
          <a:xfrm>
            <a:off x="4364736" y="0"/>
            <a:ext cx="7827264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9E8DABE5-6099-4D42-9730-B3FED1A8FD55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7" y="6501670"/>
            <a:ext cx="3476007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F2D8FBFF-13B8-4394-9AF5-D206F6B8DF0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28C5B63D-E9C7-4AF1-8B9D-DBEF74F2CE5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48218" y="2840816"/>
            <a:ext cx="3476007" cy="677108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302CFF5-7D13-40E9-B0FB-8BC438F87D7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48217" y="3636553"/>
            <a:ext cx="3462528" cy="492443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297D7C76-C65E-4CC9-A67E-4696F7C9613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F3F73D64-B470-4557-8F79-8782F469C850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427085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E8063F9-BD79-4AC7-AE37-FA41373B03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65228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E8063F9-BD79-4AC7-AE37-FA41373B0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3" hidden="1">
            <a:extLst>
              <a:ext uri="{FF2B5EF4-FFF2-40B4-BE49-F238E27FC236}">
                <a16:creationId xmlns:a16="http://schemas.microsoft.com/office/drawing/2014/main" id="{7D5CD0B7-78F0-4D90-8217-39B2ABEF29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BE3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0AB58A89-F6F4-4862-B0B6-9B56563426ED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4737" y="6501670"/>
            <a:ext cx="5159180" cy="12311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80C43D9A-8871-4E21-8014-7D0511A34A5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68706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/>
            <a:r>
              <a:rPr lang="en-US" dirty="0"/>
              <a:t>Add tracker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D0AE5B54-AB0E-4484-9346-E286DDC6EE2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173736"/>
            <a:ext cx="5159180" cy="338554"/>
          </a:xfrm>
        </p:spPr>
        <p:txBody>
          <a:bodyPr wrap="square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515FD66B-17DF-4FD2-AACA-1776A172332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7" y="525929"/>
            <a:ext cx="5159180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D0AA6CB2-9326-44D6-9F1F-EBBC1FF3295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ltGray">
          <a:xfrm>
            <a:off x="11301984" y="663767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B76ACF59-02C1-479D-897F-32A99C4BF1B1}"/>
              </a:ext>
            </a:extLst>
          </p:cNvPr>
          <p:cNvSpPr txBox="1">
            <a:spLocks/>
          </p:cNvSpPr>
          <p:nvPr userDrawn="1"/>
        </p:nvSpPr>
        <p:spPr>
          <a:xfrm>
            <a:off x="412973" y="6427335"/>
            <a:ext cx="3828828" cy="3652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fidential, Draft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140662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8963AA3D-EFA3-4938-9D41-C8DDC03F78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2212532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name="think-cell Slide" r:id="rId38" imgW="572" imgH="588" progId="TCLayout.ActiveDocument.1">
                  <p:embed/>
                </p:oleObj>
              </mc:Choice>
              <mc:Fallback>
                <p:oleObj name="think-cell Slide" r:id="rId38" imgW="572" imgH="588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8963AA3D-EFA3-4938-9D41-C8DDC03F7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C4A855FC-965A-4859-83A9-629E80C693BF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2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2" name="4. Footnote" hidden="1">
            <a:extLst>
              <a:ext uri="{FF2B5EF4-FFF2-40B4-BE49-F238E27FC236}">
                <a16:creationId xmlns:a16="http://schemas.microsoft.com/office/drawing/2014/main" id="{06E07A66-B8BA-42E8-A0F6-6B0251CAA48E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48640" y="6274555"/>
            <a:ext cx="1108252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800" dirty="0"/>
              <a:t>Footnote</a:t>
            </a: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BAD3E984-2EF2-43CD-BB0E-16A737B99040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3736"/>
            <a:ext cx="11082528" cy="33855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3" name="Grid" hidden="1">
            <a:extLst>
              <a:ext uri="{FF2B5EF4-FFF2-40B4-BE49-F238E27FC236}">
                <a16:creationId xmlns:a16="http://schemas.microsoft.com/office/drawing/2014/main" id="{564EB9F6-AC04-42ED-9CB6-6D01335D9982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 bwMode="blackGray"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55" name="slide margin">
              <a:extLst>
                <a:ext uri="{FF2B5EF4-FFF2-40B4-BE49-F238E27FC236}">
                  <a16:creationId xmlns:a16="http://schemas.microsoft.com/office/drawing/2014/main" id="{F5DBB269-56D9-4200-9112-12E14BA26FC3}"/>
                </a:ext>
              </a:extLst>
            </p:cNvPr>
            <p:cNvSpPr/>
            <p:nvPr/>
          </p:nvSpPr>
          <p:spPr bwMode="black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350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7A4F8EE-DD16-44D6-8659-4BC61E1C4968}"/>
                </a:ext>
              </a:extLst>
            </p:cNvPr>
            <p:cNvCxnSpPr/>
            <p:nvPr/>
          </p:nvCxnSpPr>
          <p:spPr bwMode="black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A20FAAC0-CCE6-4BC5-A835-E805E4CFE84B}"/>
                </a:ext>
              </a:extLst>
            </p:cNvPr>
            <p:cNvCxnSpPr/>
            <p:nvPr/>
          </p:nvCxnSpPr>
          <p:spPr bwMode="black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CE62967-F8DD-442A-A2C7-5EC8AB9FE8CE}"/>
                </a:ext>
              </a:extLst>
            </p:cNvPr>
            <p:cNvCxnSpPr/>
            <p:nvPr/>
          </p:nvCxnSpPr>
          <p:spPr bwMode="black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38D8E0C4-F713-47B9-9258-FCC3EF4AC2D3}"/>
                </a:ext>
              </a:extLst>
            </p:cNvPr>
            <p:cNvCxnSpPr/>
            <p:nvPr/>
          </p:nvCxnSpPr>
          <p:spPr bwMode="black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9209D019-80C7-44F7-B340-FDC6CF76FDFE}"/>
                </a:ext>
              </a:extLst>
            </p:cNvPr>
            <p:cNvCxnSpPr/>
            <p:nvPr/>
          </p:nvCxnSpPr>
          <p:spPr bwMode="black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2B6FCE71-887F-4F0B-ACCD-6CFCD13E12A8}"/>
                </a:ext>
              </a:extLst>
            </p:cNvPr>
            <p:cNvCxnSpPr/>
            <p:nvPr/>
          </p:nvCxnSpPr>
          <p:spPr bwMode="black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F25852E5-79E9-4D30-89F2-E8E3C7A8A8D3}"/>
                </a:ext>
              </a:extLst>
            </p:cNvPr>
            <p:cNvCxnSpPr/>
            <p:nvPr/>
          </p:nvCxnSpPr>
          <p:spPr bwMode="black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21894E67-6006-4C83-BBB3-824E5C6CAE33}"/>
                </a:ext>
              </a:extLst>
            </p:cNvPr>
            <p:cNvCxnSpPr/>
            <p:nvPr/>
          </p:nvCxnSpPr>
          <p:spPr bwMode="black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8B05A6-707C-49A0-B29E-A54224F6D77E}"/>
                </a:ext>
              </a:extLst>
            </p:cNvPr>
            <p:cNvCxnSpPr/>
            <p:nvPr/>
          </p:nvCxnSpPr>
          <p:spPr bwMode="black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6D036E9-E68E-45AC-88B1-3889BA9AC140}"/>
                </a:ext>
              </a:extLst>
            </p:cNvPr>
            <p:cNvCxnSpPr/>
            <p:nvPr/>
          </p:nvCxnSpPr>
          <p:spPr bwMode="black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228A5C01-418B-415F-ACE4-12657A25C674}"/>
                </a:ext>
              </a:extLst>
            </p:cNvPr>
            <p:cNvCxnSpPr/>
            <p:nvPr/>
          </p:nvCxnSpPr>
          <p:spPr bwMode="black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2CD3EFBD-902E-4760-89FE-386EC5FAB5DD}"/>
                </a:ext>
              </a:extLst>
            </p:cNvPr>
            <p:cNvCxnSpPr/>
            <p:nvPr/>
          </p:nvCxnSpPr>
          <p:spPr bwMode="black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6E80E37-4393-4509-A7F8-81796082DBE6}"/>
                </a:ext>
              </a:extLst>
            </p:cNvPr>
            <p:cNvSpPr/>
            <p:nvPr/>
          </p:nvSpPr>
          <p:spPr bwMode="black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8B6547D-77F2-421A-BE02-C2FE626088A2}"/>
                </a:ext>
              </a:extLst>
            </p:cNvPr>
            <p:cNvSpPr/>
            <p:nvPr/>
          </p:nvSpPr>
          <p:spPr bwMode="black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3092C087-1CB5-40EB-AAE7-4F62179E5B3D}"/>
                </a:ext>
              </a:extLst>
            </p:cNvPr>
            <p:cNvSpPr/>
            <p:nvPr/>
          </p:nvSpPr>
          <p:spPr bwMode="black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70C581B-2D28-48E7-9BF1-F773AD6A082F}"/>
                </a:ext>
              </a:extLst>
            </p:cNvPr>
            <p:cNvSpPr/>
            <p:nvPr/>
          </p:nvSpPr>
          <p:spPr bwMode="black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5DE51E3-D897-4994-9418-E8C2DE782A3A}"/>
                </a:ext>
              </a:extLst>
            </p:cNvPr>
            <p:cNvSpPr/>
            <p:nvPr/>
          </p:nvSpPr>
          <p:spPr bwMode="black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7D9B6F9F-FA16-4594-8B72-43FF5F17F7FC}"/>
                </a:ext>
              </a:extLst>
            </p:cNvPr>
            <p:cNvSpPr/>
            <p:nvPr/>
          </p:nvSpPr>
          <p:spPr bwMode="black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21EA58F-1F84-493C-ACF6-F9FACAF48256}"/>
                </a:ext>
              </a:extLst>
            </p:cNvPr>
            <p:cNvSpPr/>
            <p:nvPr/>
          </p:nvSpPr>
          <p:spPr bwMode="black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208E60CB-D491-446F-999C-C54AA89B3EC2}"/>
                </a:ext>
              </a:extLst>
            </p:cNvPr>
            <p:cNvSpPr/>
            <p:nvPr/>
          </p:nvSpPr>
          <p:spPr bwMode="black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A798CCB-595D-477E-BB68-277026AE1F58}"/>
                </a:ext>
              </a:extLst>
            </p:cNvPr>
            <p:cNvSpPr/>
            <p:nvPr/>
          </p:nvSpPr>
          <p:spPr bwMode="black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DE4A3B3-1B25-4F73-AFB0-BC5117472C58}"/>
                </a:ext>
              </a:extLst>
            </p:cNvPr>
            <p:cNvSpPr/>
            <p:nvPr/>
          </p:nvSpPr>
          <p:spPr bwMode="black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B244C56-8768-49BE-9C5F-39DC27091866}"/>
                </a:ext>
              </a:extLst>
            </p:cNvPr>
            <p:cNvSpPr/>
            <p:nvPr/>
          </p:nvSpPr>
          <p:spPr bwMode="black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FF016B4B-663C-4A99-BA16-526587A98E3A}"/>
                </a:ext>
              </a:extLst>
            </p:cNvPr>
            <p:cNvSpPr/>
            <p:nvPr/>
          </p:nvSpPr>
          <p:spPr bwMode="black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E0EE0782-4BFF-4C76-83A4-65CB2A78CF86}"/>
                </a:ext>
              </a:extLst>
            </p:cNvPr>
            <p:cNvSpPr/>
            <p:nvPr/>
          </p:nvSpPr>
          <p:spPr bwMode="black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922C003-5270-4D9A-ADCB-FBD0BCF17B75}"/>
                </a:ext>
              </a:extLst>
            </p:cNvPr>
            <p:cNvSpPr/>
            <p:nvPr/>
          </p:nvSpPr>
          <p:spPr bwMode="black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6D711215-3D48-4B08-99DB-BE3939FDAC79}"/>
                </a:ext>
              </a:extLst>
            </p:cNvPr>
            <p:cNvSpPr/>
            <p:nvPr userDrawn="1"/>
          </p:nvSpPr>
          <p:spPr bwMode="black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DDFDFFA-F184-43C9-870C-DCF3B877593B}"/>
                </a:ext>
              </a:extLst>
            </p:cNvPr>
            <p:cNvSpPr/>
            <p:nvPr userDrawn="1"/>
          </p:nvSpPr>
          <p:spPr bwMode="black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A7AD2D58-EC85-4919-86F2-00E85F906876}"/>
                </a:ext>
              </a:extLst>
            </p:cNvPr>
            <p:cNvSpPr/>
            <p:nvPr userDrawn="1"/>
          </p:nvSpPr>
          <p:spPr bwMode="black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01CF21A7-4535-4C57-8143-169D224ADC39}"/>
                </a:ext>
              </a:extLst>
            </p:cNvPr>
            <p:cNvSpPr/>
            <p:nvPr userDrawn="1"/>
          </p:nvSpPr>
          <p:spPr bwMode="black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956F035C-8FDC-45CE-B5B8-F8B4F5ACBC79}"/>
                </a:ext>
              </a:extLst>
            </p:cNvPr>
            <p:cNvSpPr/>
            <p:nvPr userDrawn="1"/>
          </p:nvSpPr>
          <p:spPr bwMode="black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9B234A6-826A-413C-B931-D919E52A0719}"/>
                </a:ext>
              </a:extLst>
            </p:cNvPr>
            <p:cNvSpPr/>
            <p:nvPr userDrawn="1"/>
          </p:nvSpPr>
          <p:spPr bwMode="black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048B2BB-6FFB-4D27-96C7-176E63508A2B}"/>
                </a:ext>
              </a:extLst>
            </p:cNvPr>
            <p:cNvSpPr/>
            <p:nvPr userDrawn="1"/>
          </p:nvSpPr>
          <p:spPr bwMode="black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0F26DA9-CE5E-4276-B142-51E0AFC8EFF3}"/>
                </a:ext>
              </a:extLst>
            </p:cNvPr>
            <p:cNvSpPr/>
            <p:nvPr userDrawn="1"/>
          </p:nvSpPr>
          <p:spPr bwMode="black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DEC25358-B7B6-4891-97D2-1B131FD58253}"/>
                </a:ext>
              </a:extLst>
            </p:cNvPr>
            <p:cNvSpPr/>
            <p:nvPr userDrawn="1"/>
          </p:nvSpPr>
          <p:spPr bwMode="black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F1D4F54-A5B6-4B8F-BA1C-9796B50D71E8}"/>
                </a:ext>
              </a:extLst>
            </p:cNvPr>
            <p:cNvSpPr/>
            <p:nvPr userDrawn="1"/>
          </p:nvSpPr>
          <p:spPr bwMode="black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D3E1AF58-F8BD-4C35-B17B-FF474AC07207}"/>
                </a:ext>
              </a:extLst>
            </p:cNvPr>
            <p:cNvSpPr/>
            <p:nvPr userDrawn="1"/>
          </p:nvSpPr>
          <p:spPr bwMode="black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F433238B-4167-4B9F-AD00-573B9904B268}"/>
                </a:ext>
              </a:extLst>
            </p:cNvPr>
            <p:cNvCxnSpPr/>
            <p:nvPr userDrawn="1"/>
          </p:nvCxnSpPr>
          <p:spPr bwMode="black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E9255B43-A6C1-44E1-AD76-0108E14CF1CF}"/>
                </a:ext>
              </a:extLst>
            </p:cNvPr>
            <p:cNvCxnSpPr/>
            <p:nvPr userDrawn="1"/>
          </p:nvCxnSpPr>
          <p:spPr bwMode="black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86976117-4103-48D7-A1A4-7B1F6EB39AF8}"/>
                </a:ext>
              </a:extLst>
            </p:cNvPr>
            <p:cNvCxnSpPr/>
            <p:nvPr userDrawn="1"/>
          </p:nvCxnSpPr>
          <p:spPr bwMode="black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AD237E79-C954-4F5C-9467-568C2B01D61D}"/>
                </a:ext>
              </a:extLst>
            </p:cNvPr>
            <p:cNvCxnSpPr/>
            <p:nvPr userDrawn="1"/>
          </p:nvCxnSpPr>
          <p:spPr bwMode="black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52C3CA5D-4381-498F-A12A-94E2357D48D3}"/>
                </a:ext>
              </a:extLst>
            </p:cNvPr>
            <p:cNvCxnSpPr/>
            <p:nvPr userDrawn="1"/>
          </p:nvCxnSpPr>
          <p:spPr bwMode="black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CA4E24DD-F3D4-4376-8AB6-A07DA4314FF3}"/>
                </a:ext>
              </a:extLst>
            </p:cNvPr>
            <p:cNvCxnSpPr/>
            <p:nvPr userDrawn="1"/>
          </p:nvCxnSpPr>
          <p:spPr bwMode="black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D5DC4754-8578-491E-A0FF-64F47384863A}"/>
                </a:ext>
              </a:extLst>
            </p:cNvPr>
            <p:cNvCxnSpPr/>
            <p:nvPr userDrawn="1"/>
          </p:nvCxnSpPr>
          <p:spPr bwMode="black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6984F9AF-FC24-4244-B2B7-556836286B42}"/>
                </a:ext>
              </a:extLst>
            </p:cNvPr>
            <p:cNvCxnSpPr/>
            <p:nvPr userDrawn="1"/>
          </p:nvCxnSpPr>
          <p:spPr bwMode="black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BBE39F50-755A-4A28-9262-956D50B5BDF8}"/>
                </a:ext>
              </a:extLst>
            </p:cNvPr>
            <p:cNvCxnSpPr/>
            <p:nvPr userDrawn="1"/>
          </p:nvCxnSpPr>
          <p:spPr bwMode="black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FFE806D-C6EC-4A6A-A604-0951250AC780}"/>
                </a:ext>
              </a:extLst>
            </p:cNvPr>
            <p:cNvCxnSpPr/>
            <p:nvPr userDrawn="1"/>
          </p:nvCxnSpPr>
          <p:spPr bwMode="black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584ED4C1-CE4B-4983-BA97-346408DC67CE}"/>
                </a:ext>
              </a:extLst>
            </p:cNvPr>
            <p:cNvCxnSpPr/>
            <p:nvPr userDrawn="1"/>
          </p:nvCxnSpPr>
          <p:spPr bwMode="black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2C71EB62-716E-4C9B-AF43-BD800A252535}"/>
                </a:ext>
              </a:extLst>
            </p:cNvPr>
            <p:cNvCxnSpPr/>
            <p:nvPr userDrawn="1"/>
          </p:nvCxnSpPr>
          <p:spPr bwMode="black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9D29CB2-8929-4A25-98AF-2BEB838CFADE}"/>
                </a:ext>
              </a:extLst>
            </p:cNvPr>
            <p:cNvCxnSpPr/>
            <p:nvPr userDrawn="1"/>
          </p:nvCxnSpPr>
          <p:spPr bwMode="black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6555DD7-8F54-4055-98D9-803ECA4B000E}"/>
                </a:ext>
              </a:extLst>
            </p:cNvPr>
            <p:cNvCxnSpPr/>
            <p:nvPr userDrawn="1"/>
          </p:nvCxnSpPr>
          <p:spPr bwMode="black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B2A8ED3D-1604-4356-8E79-C73DF5C07F87}"/>
                </a:ext>
              </a:extLst>
            </p:cNvPr>
            <p:cNvCxnSpPr/>
            <p:nvPr userDrawn="1"/>
          </p:nvCxnSpPr>
          <p:spPr bwMode="black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59B3DA24-D2F6-4B96-A966-7778F0462788}"/>
                </a:ext>
              </a:extLst>
            </p:cNvPr>
            <p:cNvCxnSpPr/>
            <p:nvPr userDrawn="1"/>
          </p:nvCxnSpPr>
          <p:spPr bwMode="black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5B2BC198-E061-43B5-8B72-9AECD4EF674C}"/>
                </a:ext>
              </a:extLst>
            </p:cNvPr>
            <p:cNvCxnSpPr/>
            <p:nvPr userDrawn="1"/>
          </p:nvCxnSpPr>
          <p:spPr bwMode="black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5CBD1AA7-CC60-49B9-AAED-95002306B6DB}"/>
                </a:ext>
              </a:extLst>
            </p:cNvPr>
            <p:cNvCxnSpPr/>
            <p:nvPr userDrawn="1"/>
          </p:nvCxnSpPr>
          <p:spPr bwMode="black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6CFC690-A932-420E-8641-E0D4F1D14F71}"/>
                </a:ext>
              </a:extLst>
            </p:cNvPr>
            <p:cNvCxnSpPr/>
            <p:nvPr userDrawn="1"/>
          </p:nvCxnSpPr>
          <p:spPr bwMode="black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981262C0-EBF5-4D95-9E2E-78B7BE1D5F8F}"/>
                </a:ext>
              </a:extLst>
            </p:cNvPr>
            <p:cNvCxnSpPr/>
            <p:nvPr userDrawn="1"/>
          </p:nvCxnSpPr>
          <p:spPr bwMode="black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72412145-9F02-45F4-8A1F-4109B09DA77F}"/>
                </a:ext>
              </a:extLst>
            </p:cNvPr>
            <p:cNvCxnSpPr/>
            <p:nvPr userDrawn="1"/>
          </p:nvCxnSpPr>
          <p:spPr bwMode="black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4EFB458C-651C-47B0-830C-DFC18029EB15}"/>
                </a:ext>
              </a:extLst>
            </p:cNvPr>
            <p:cNvCxnSpPr/>
            <p:nvPr userDrawn="1"/>
          </p:nvCxnSpPr>
          <p:spPr bwMode="black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275A12CE-1B9C-467B-A41F-63B02D949AF6}"/>
                </a:ext>
              </a:extLst>
            </p:cNvPr>
            <p:cNvCxnSpPr/>
            <p:nvPr userDrawn="1"/>
          </p:nvCxnSpPr>
          <p:spPr bwMode="black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E166A7E-724C-41B9-B1E3-C18068EECF0D}"/>
                </a:ext>
              </a:extLst>
            </p:cNvPr>
            <p:cNvCxnSpPr/>
            <p:nvPr userDrawn="1"/>
          </p:nvCxnSpPr>
          <p:spPr bwMode="black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A628A8A-2AC5-47F3-84EC-7B44237EC8C4}"/>
                </a:ext>
              </a:extLst>
            </p:cNvPr>
            <p:cNvCxnSpPr/>
            <p:nvPr userDrawn="1"/>
          </p:nvCxnSpPr>
          <p:spPr bwMode="black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89EEAE6-AB58-4DA0-97B7-5ED0B4FB66F7}"/>
                </a:ext>
              </a:extLst>
            </p:cNvPr>
            <p:cNvCxnSpPr/>
            <p:nvPr userDrawn="1"/>
          </p:nvCxnSpPr>
          <p:spPr bwMode="black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9973091C-4F57-45F5-9278-A5495574B244}"/>
                </a:ext>
              </a:extLst>
            </p:cNvPr>
            <p:cNvCxnSpPr/>
            <p:nvPr userDrawn="1"/>
          </p:nvCxnSpPr>
          <p:spPr bwMode="black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013782DF-D3CE-43BC-B089-7657B3CC9E4F}"/>
                </a:ext>
              </a:extLst>
            </p:cNvPr>
            <p:cNvCxnSpPr/>
            <p:nvPr userDrawn="1"/>
          </p:nvCxnSpPr>
          <p:spPr bwMode="black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B40E03DB-D3B5-4ED2-94F1-18B05EF36E60}"/>
                </a:ext>
              </a:extLst>
            </p:cNvPr>
            <p:cNvCxnSpPr/>
            <p:nvPr userDrawn="1"/>
          </p:nvCxnSpPr>
          <p:spPr bwMode="black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283FFB0A-CBFF-4BBE-BC87-0A2AF4284576}"/>
                </a:ext>
              </a:extLst>
            </p:cNvPr>
            <p:cNvCxnSpPr/>
            <p:nvPr userDrawn="1"/>
          </p:nvCxnSpPr>
          <p:spPr bwMode="black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D5A634C-FA6D-4F49-AAD5-BBCE990D4748}"/>
                </a:ext>
              </a:extLst>
            </p:cNvPr>
            <p:cNvCxnSpPr/>
            <p:nvPr userDrawn="1"/>
          </p:nvCxnSpPr>
          <p:spPr bwMode="black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205ED71-0851-4E0C-A163-BC3D3039E671}"/>
                </a:ext>
              </a:extLst>
            </p:cNvPr>
            <p:cNvCxnSpPr/>
            <p:nvPr userDrawn="1"/>
          </p:nvCxnSpPr>
          <p:spPr bwMode="black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715526AD-CEE9-474C-A9A5-D49A5346A930}"/>
                </a:ext>
              </a:extLst>
            </p:cNvPr>
            <p:cNvCxnSpPr/>
            <p:nvPr userDrawn="1"/>
          </p:nvCxnSpPr>
          <p:spPr bwMode="black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E7BD9B20-C7BC-413A-A578-C3FF8BEBBDC0}"/>
                </a:ext>
              </a:extLst>
            </p:cNvPr>
            <p:cNvCxnSpPr/>
            <p:nvPr userDrawn="1"/>
          </p:nvCxnSpPr>
          <p:spPr bwMode="black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A981CE9B-6327-4D32-B970-04D7EC41EE89}"/>
                </a:ext>
              </a:extLst>
            </p:cNvPr>
            <p:cNvCxnSpPr/>
            <p:nvPr userDrawn="1"/>
          </p:nvCxnSpPr>
          <p:spPr bwMode="black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E8F3FFC1-0364-4801-813A-54371A2C43DA}"/>
                </a:ext>
              </a:extLst>
            </p:cNvPr>
            <p:cNvCxnSpPr/>
            <p:nvPr userDrawn="1"/>
          </p:nvCxnSpPr>
          <p:spPr bwMode="black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5606A9C3-FEED-4F52-B442-5009E3F7B54C}"/>
                </a:ext>
              </a:extLst>
            </p:cNvPr>
            <p:cNvCxnSpPr/>
            <p:nvPr userDrawn="1"/>
          </p:nvCxnSpPr>
          <p:spPr bwMode="black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9DAE2C86-BAE6-47A1-94B1-327465587DE7}"/>
                </a:ext>
              </a:extLst>
            </p:cNvPr>
            <p:cNvCxnSpPr/>
            <p:nvPr userDrawn="1"/>
          </p:nvCxnSpPr>
          <p:spPr bwMode="black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9686103-ADA6-4E1A-817A-E71466AE209B}"/>
                </a:ext>
              </a:extLst>
            </p:cNvPr>
            <p:cNvCxnSpPr/>
            <p:nvPr userDrawn="1"/>
          </p:nvCxnSpPr>
          <p:spPr bwMode="black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BD273DE-C35C-4DA9-96B1-DDB7F800252C}"/>
                </a:ext>
              </a:extLst>
            </p:cNvPr>
            <p:cNvCxnSpPr/>
            <p:nvPr userDrawn="1"/>
          </p:nvCxnSpPr>
          <p:spPr bwMode="black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9A7DF1D-083E-42BB-91EA-4E30FEA625A2}"/>
                </a:ext>
              </a:extLst>
            </p:cNvPr>
            <p:cNvCxnSpPr/>
            <p:nvPr userDrawn="1"/>
          </p:nvCxnSpPr>
          <p:spPr bwMode="black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2D0D1604-79C2-46BE-9905-D864D0ECFE20}"/>
                </a:ext>
              </a:extLst>
            </p:cNvPr>
            <p:cNvCxnSpPr/>
            <p:nvPr userDrawn="1"/>
          </p:nvCxnSpPr>
          <p:spPr bwMode="black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B7B9FA60-E80E-4FE7-BB67-028805A248EE}"/>
                </a:ext>
              </a:extLst>
            </p:cNvPr>
            <p:cNvCxnSpPr/>
            <p:nvPr userDrawn="1"/>
          </p:nvCxnSpPr>
          <p:spPr bwMode="black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02F5688-0147-4CC6-8FB3-67034979720D}"/>
                </a:ext>
              </a:extLst>
            </p:cNvPr>
            <p:cNvCxnSpPr/>
            <p:nvPr userDrawn="1"/>
          </p:nvCxnSpPr>
          <p:spPr bwMode="black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main body box">
              <a:extLst>
                <a:ext uri="{FF2B5EF4-FFF2-40B4-BE49-F238E27FC236}">
                  <a16:creationId xmlns:a16="http://schemas.microsoft.com/office/drawing/2014/main" id="{3AB62359-B582-4196-8266-DC8ADBA988F4}"/>
                </a:ext>
              </a:extLst>
            </p:cNvPr>
            <p:cNvSpPr/>
            <p:nvPr userDrawn="1"/>
          </p:nvSpPr>
          <p:spPr bwMode="black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3D738849-8295-4057-B044-0B0E80C1C3DA}"/>
                </a:ext>
              </a:extLst>
            </p:cNvPr>
            <p:cNvCxnSpPr/>
            <p:nvPr userDrawn="1"/>
          </p:nvCxnSpPr>
          <p:spPr bwMode="black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81361245-226A-4BA1-8B7C-025011F07E2A}"/>
                </a:ext>
              </a:extLst>
            </p:cNvPr>
            <p:cNvCxnSpPr/>
            <p:nvPr userDrawn="1"/>
          </p:nvCxnSpPr>
          <p:spPr bwMode="black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3" name="Sticker" hidden="1">
            <a:extLst>
              <a:ext uri="{FF2B5EF4-FFF2-40B4-BE49-F238E27FC236}">
                <a16:creationId xmlns:a16="http://schemas.microsoft.com/office/drawing/2014/main" id="{F4B31D41-9E38-4C47-B14A-953F41CF2048}"/>
              </a:ext>
            </a:extLst>
          </p:cNvPr>
          <p:cNvSpPr txBox="1"/>
          <p:nvPr userDrawn="1"/>
        </p:nvSpPr>
        <p:spPr>
          <a:xfrm>
            <a:off x="554736" y="834829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/>
              <a:t>STICKER</a:t>
            </a:r>
          </a:p>
        </p:txBody>
      </p:sp>
      <p:sp>
        <p:nvSpPr>
          <p:cNvPr id="155" name="ACET" hidden="1">
            <a:extLst>
              <a:ext uri="{FF2B5EF4-FFF2-40B4-BE49-F238E27FC236}">
                <a16:creationId xmlns:a16="http://schemas.microsoft.com/office/drawing/2014/main" id="{6FC9F96D-D74F-4064-BE66-104F69CCE92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4567" y="2133600"/>
            <a:ext cx="4065671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400" dirty="0"/>
              <a:t>Above Chart Exhibit Title</a:t>
            </a:r>
          </a:p>
          <a:p>
            <a:pPr lvl="0"/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BA02D5-5579-4386-BB2A-334ACD085C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568" y="2155825"/>
            <a:ext cx="2891817" cy="121828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52" name="LegendBoxes" hidden="1">
            <a:extLst>
              <a:ext uri="{FF2B5EF4-FFF2-40B4-BE49-F238E27FC236}">
                <a16:creationId xmlns:a16="http://schemas.microsoft.com/office/drawing/2014/main" id="{963CCBC6-05DA-41C5-8A26-02B4B8294556}"/>
              </a:ext>
            </a:extLst>
          </p:cNvPr>
          <p:cNvGrpSpPr/>
          <p:nvPr userDrawn="1"/>
        </p:nvGrpSpPr>
        <p:grpSpPr>
          <a:xfrm>
            <a:off x="10522738" y="4396889"/>
            <a:ext cx="944617" cy="1686504"/>
            <a:chOff x="7756825" y="4379430"/>
            <a:chExt cx="708462" cy="1686504"/>
          </a:xfrm>
        </p:grpSpPr>
        <p:sp>
          <p:nvSpPr>
            <p:cNvPr id="153" name="RectangleLegend1">
              <a:extLst>
                <a:ext uri="{FF2B5EF4-FFF2-40B4-BE49-F238E27FC236}">
                  <a16:creationId xmlns:a16="http://schemas.microsoft.com/office/drawing/2014/main" id="{658AC4E5-B9F1-4DD2-A80F-DAC539F6EDF1}"/>
                </a:ext>
              </a:extLst>
            </p:cNvPr>
            <p:cNvSpPr/>
            <p:nvPr/>
          </p:nvSpPr>
          <p:spPr>
            <a:xfrm>
              <a:off x="7756825" y="4385399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54" name="RectangleLegend2">
              <a:extLst>
                <a:ext uri="{FF2B5EF4-FFF2-40B4-BE49-F238E27FC236}">
                  <a16:creationId xmlns:a16="http://schemas.microsoft.com/office/drawing/2014/main" id="{B2384542-8C23-4E14-80D2-CA9F267323F0}"/>
                </a:ext>
              </a:extLst>
            </p:cNvPr>
            <p:cNvSpPr/>
            <p:nvPr/>
          </p:nvSpPr>
          <p:spPr>
            <a:xfrm>
              <a:off x="7756825" y="4764897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4" name="RectangleLegend3">
              <a:extLst>
                <a:ext uri="{FF2B5EF4-FFF2-40B4-BE49-F238E27FC236}">
                  <a16:creationId xmlns:a16="http://schemas.microsoft.com/office/drawing/2014/main" id="{060EF611-D1B1-4A78-8D88-DC9E2B83640A}"/>
                </a:ext>
              </a:extLst>
            </p:cNvPr>
            <p:cNvSpPr/>
            <p:nvPr/>
          </p:nvSpPr>
          <p:spPr>
            <a:xfrm>
              <a:off x="7756825" y="5138493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5" name="RectangleLegend4">
              <a:extLst>
                <a:ext uri="{FF2B5EF4-FFF2-40B4-BE49-F238E27FC236}">
                  <a16:creationId xmlns:a16="http://schemas.microsoft.com/office/drawing/2014/main" id="{E1613226-3F7F-4C55-A6C0-DD8251B844E6}"/>
                </a:ext>
              </a:extLst>
            </p:cNvPr>
            <p:cNvSpPr/>
            <p:nvPr/>
          </p:nvSpPr>
          <p:spPr>
            <a:xfrm>
              <a:off x="7756825" y="5512089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6" name="RectangleLegend5">
              <a:extLst>
                <a:ext uri="{FF2B5EF4-FFF2-40B4-BE49-F238E27FC236}">
                  <a16:creationId xmlns:a16="http://schemas.microsoft.com/office/drawing/2014/main" id="{5BE928B1-5A9D-43CB-BC80-2D1F93CC2F3C}"/>
                </a:ext>
              </a:extLst>
            </p:cNvPr>
            <p:cNvSpPr/>
            <p:nvPr/>
          </p:nvSpPr>
          <p:spPr>
            <a:xfrm>
              <a:off x="7756825" y="5885685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err="1">
                <a:solidFill>
                  <a:schemeClr val="tx1"/>
                </a:solidFill>
              </a:endParaRPr>
            </a:p>
          </p:txBody>
        </p:sp>
        <p:sp>
          <p:nvSpPr>
            <p:cNvPr id="167" name="Legend1">
              <a:extLst>
                <a:ext uri="{FF2B5EF4-FFF2-40B4-BE49-F238E27FC236}">
                  <a16:creationId xmlns:a16="http://schemas.microsoft.com/office/drawing/2014/main" id="{588189A8-DB4B-43BF-B593-04C5DB541C53}"/>
                </a:ext>
              </a:extLst>
            </p:cNvPr>
            <p:cNvSpPr txBox="1"/>
            <p:nvPr/>
          </p:nvSpPr>
          <p:spPr>
            <a:xfrm>
              <a:off x="8082971" y="4379430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8" name="Legend2">
              <a:extLst>
                <a:ext uri="{FF2B5EF4-FFF2-40B4-BE49-F238E27FC236}">
                  <a16:creationId xmlns:a16="http://schemas.microsoft.com/office/drawing/2014/main" id="{BFD93A1F-3913-44CB-80B7-EFCD2B4BF5BC}"/>
                </a:ext>
              </a:extLst>
            </p:cNvPr>
            <p:cNvSpPr txBox="1"/>
            <p:nvPr/>
          </p:nvSpPr>
          <p:spPr>
            <a:xfrm>
              <a:off x="8082971" y="475892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69" name="Legend3">
              <a:extLst>
                <a:ext uri="{FF2B5EF4-FFF2-40B4-BE49-F238E27FC236}">
                  <a16:creationId xmlns:a16="http://schemas.microsoft.com/office/drawing/2014/main" id="{F7B1D1E0-C2A5-481C-8640-41B469498D8D}"/>
                </a:ext>
              </a:extLst>
            </p:cNvPr>
            <p:cNvSpPr txBox="1"/>
            <p:nvPr/>
          </p:nvSpPr>
          <p:spPr>
            <a:xfrm>
              <a:off x="8082971" y="5138426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0" name="Legend4">
              <a:extLst>
                <a:ext uri="{FF2B5EF4-FFF2-40B4-BE49-F238E27FC236}">
                  <a16:creationId xmlns:a16="http://schemas.microsoft.com/office/drawing/2014/main" id="{C8DA0D60-61E4-4C36-A081-C71B9380B540}"/>
                </a:ext>
              </a:extLst>
            </p:cNvPr>
            <p:cNvSpPr txBox="1"/>
            <p:nvPr/>
          </p:nvSpPr>
          <p:spPr>
            <a:xfrm>
              <a:off x="8082971" y="5509847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1" name="Legend5">
              <a:extLst>
                <a:ext uri="{FF2B5EF4-FFF2-40B4-BE49-F238E27FC236}">
                  <a16:creationId xmlns:a16="http://schemas.microsoft.com/office/drawing/2014/main" id="{0642CA01-EC45-4B1C-8CC1-746C78F308A5}"/>
                </a:ext>
              </a:extLst>
            </p:cNvPr>
            <p:cNvSpPr txBox="1"/>
            <p:nvPr/>
          </p:nvSpPr>
          <p:spPr>
            <a:xfrm>
              <a:off x="8082970" y="5881268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</p:grpSp>
      <p:grpSp>
        <p:nvGrpSpPr>
          <p:cNvPr id="172" name="LegendLines" hidden="1">
            <a:extLst>
              <a:ext uri="{FF2B5EF4-FFF2-40B4-BE49-F238E27FC236}">
                <a16:creationId xmlns:a16="http://schemas.microsoft.com/office/drawing/2014/main" id="{F23A354F-6D61-4076-98CC-072D54F2B9B5}"/>
              </a:ext>
            </a:extLst>
          </p:cNvPr>
          <p:cNvGrpSpPr/>
          <p:nvPr userDrawn="1"/>
        </p:nvGrpSpPr>
        <p:grpSpPr>
          <a:xfrm>
            <a:off x="10135957" y="3237562"/>
            <a:ext cx="1331385" cy="927508"/>
            <a:chOff x="7495285" y="2250552"/>
            <a:chExt cx="998539" cy="927508"/>
          </a:xfrm>
        </p:grpSpPr>
        <p:sp>
          <p:nvSpPr>
            <p:cNvPr id="173" name="Legend1">
              <a:extLst>
                <a:ext uri="{FF2B5EF4-FFF2-40B4-BE49-F238E27FC236}">
                  <a16:creationId xmlns:a16="http://schemas.microsoft.com/office/drawing/2014/main" id="{10E606C6-97CA-4FF0-A153-84CA4E8F414F}"/>
                </a:ext>
              </a:extLst>
            </p:cNvPr>
            <p:cNvSpPr txBox="1"/>
            <p:nvPr/>
          </p:nvSpPr>
          <p:spPr>
            <a:xfrm>
              <a:off x="8111508" y="225055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174" name="Legend2">
              <a:extLst>
                <a:ext uri="{FF2B5EF4-FFF2-40B4-BE49-F238E27FC236}">
                  <a16:creationId xmlns:a16="http://schemas.microsoft.com/office/drawing/2014/main" id="{5F43CABA-AFC6-491E-A7D7-B466654F525D}"/>
                </a:ext>
              </a:extLst>
            </p:cNvPr>
            <p:cNvSpPr txBox="1"/>
            <p:nvPr/>
          </p:nvSpPr>
          <p:spPr>
            <a:xfrm>
              <a:off x="8111508" y="262197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5" name="Legend3">
              <a:extLst>
                <a:ext uri="{FF2B5EF4-FFF2-40B4-BE49-F238E27FC236}">
                  <a16:creationId xmlns:a16="http://schemas.microsoft.com/office/drawing/2014/main" id="{DA7660EB-4D51-4982-8372-6E58C50CDE5E}"/>
                </a:ext>
              </a:extLst>
            </p:cNvPr>
            <p:cNvSpPr txBox="1"/>
            <p:nvPr/>
          </p:nvSpPr>
          <p:spPr>
            <a:xfrm>
              <a:off x="8111508" y="299339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176" name="LineLegend3">
              <a:extLst>
                <a:ext uri="{FF2B5EF4-FFF2-40B4-BE49-F238E27FC236}">
                  <a16:creationId xmlns:a16="http://schemas.microsoft.com/office/drawing/2014/main" id="{966C354A-0204-46EB-8E36-0146C3FD31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3084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7" name="LineLegend2">
              <a:extLst>
                <a:ext uri="{FF2B5EF4-FFF2-40B4-BE49-F238E27FC236}">
                  <a16:creationId xmlns:a16="http://schemas.microsoft.com/office/drawing/2014/main" id="{B87C293D-A7CD-4508-B0B1-2017113A58A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710816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  <p:sp>
          <p:nvSpPr>
            <p:cNvPr id="178" name="LineLegend1">
              <a:extLst>
                <a:ext uri="{FF2B5EF4-FFF2-40B4-BE49-F238E27FC236}">
                  <a16:creationId xmlns:a16="http://schemas.microsoft.com/office/drawing/2014/main" id="{4456FE58-0255-4DBB-92A8-6CC5F84B719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495285" y="234288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200" baseline="0" dirty="0">
                <a:ea typeface="+mn-ea"/>
              </a:endParaRPr>
            </a:p>
          </p:txBody>
        </p:sp>
      </p:grpSp>
      <p:grpSp>
        <p:nvGrpSpPr>
          <p:cNvPr id="179" name="LegendMoons" hidden="1">
            <a:extLst>
              <a:ext uri="{FF2B5EF4-FFF2-40B4-BE49-F238E27FC236}">
                <a16:creationId xmlns:a16="http://schemas.microsoft.com/office/drawing/2014/main" id="{70A0319B-8EBB-4F65-9A96-1B1BB35625B1}"/>
              </a:ext>
            </a:extLst>
          </p:cNvPr>
          <p:cNvGrpSpPr/>
          <p:nvPr userDrawn="1"/>
        </p:nvGrpSpPr>
        <p:grpSpPr>
          <a:xfrm>
            <a:off x="10487412" y="1289274"/>
            <a:ext cx="979930" cy="1731859"/>
            <a:chOff x="7723680" y="1702457"/>
            <a:chExt cx="734948" cy="1731859"/>
          </a:xfrm>
        </p:grpSpPr>
        <p:sp>
          <p:nvSpPr>
            <p:cNvPr id="201" name="Legend1">
              <a:extLst>
                <a:ext uri="{FF2B5EF4-FFF2-40B4-BE49-F238E27FC236}">
                  <a16:creationId xmlns:a16="http://schemas.microsoft.com/office/drawing/2014/main" id="{49BB8121-D802-4602-ABD0-B61681B018F3}"/>
                </a:ext>
              </a:extLst>
            </p:cNvPr>
            <p:cNvSpPr txBox="1"/>
            <p:nvPr/>
          </p:nvSpPr>
          <p:spPr>
            <a:xfrm>
              <a:off x="8076312" y="1725205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2" name="Legend2">
              <a:extLst>
                <a:ext uri="{FF2B5EF4-FFF2-40B4-BE49-F238E27FC236}">
                  <a16:creationId xmlns:a16="http://schemas.microsoft.com/office/drawing/2014/main" id="{5EBAE2BA-95BE-43BE-ADD2-84B42D0356EE}"/>
                </a:ext>
              </a:extLst>
            </p:cNvPr>
            <p:cNvSpPr txBox="1"/>
            <p:nvPr/>
          </p:nvSpPr>
          <p:spPr>
            <a:xfrm>
              <a:off x="8076312" y="2100664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 dirty="0"/>
                <a:t>Legend</a:t>
              </a:r>
            </a:p>
          </p:txBody>
        </p:sp>
        <p:sp>
          <p:nvSpPr>
            <p:cNvPr id="203" name="Legend3">
              <a:extLst>
                <a:ext uri="{FF2B5EF4-FFF2-40B4-BE49-F238E27FC236}">
                  <a16:creationId xmlns:a16="http://schemas.microsoft.com/office/drawing/2014/main" id="{F96B8EA8-EAE8-4395-BA9F-6F1303EA348F}"/>
                </a:ext>
              </a:extLst>
            </p:cNvPr>
            <p:cNvSpPr txBox="1"/>
            <p:nvPr/>
          </p:nvSpPr>
          <p:spPr>
            <a:xfrm>
              <a:off x="8076312" y="247612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4" name="Legend4">
              <a:extLst>
                <a:ext uri="{FF2B5EF4-FFF2-40B4-BE49-F238E27FC236}">
                  <a16:creationId xmlns:a16="http://schemas.microsoft.com/office/drawing/2014/main" id="{BE4110F2-0F5F-4468-93FA-59E84FEB9E4A}"/>
                </a:ext>
              </a:extLst>
            </p:cNvPr>
            <p:cNvSpPr txBox="1"/>
            <p:nvPr/>
          </p:nvSpPr>
          <p:spPr>
            <a:xfrm>
              <a:off x="8076312" y="2851582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sp>
          <p:nvSpPr>
            <p:cNvPr id="205" name="Legend5">
              <a:extLst>
                <a:ext uri="{FF2B5EF4-FFF2-40B4-BE49-F238E27FC236}">
                  <a16:creationId xmlns:a16="http://schemas.microsoft.com/office/drawing/2014/main" id="{E16B28D1-13B2-4F91-8123-CC4749412D3B}"/>
                </a:ext>
              </a:extLst>
            </p:cNvPr>
            <p:cNvSpPr txBox="1"/>
            <p:nvPr/>
          </p:nvSpPr>
          <p:spPr>
            <a:xfrm>
              <a:off x="8076312" y="3227043"/>
              <a:ext cx="382316" cy="18466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200"/>
                <a:t>Legend</a:t>
              </a:r>
              <a:endParaRPr lang="en-US" sz="1200" dirty="0"/>
            </a:p>
          </p:txBody>
        </p:sp>
        <p:grpSp>
          <p:nvGrpSpPr>
            <p:cNvPr id="206" name="MoonLegend1">
              <a:extLst>
                <a:ext uri="{FF2B5EF4-FFF2-40B4-BE49-F238E27FC236}">
                  <a16:creationId xmlns:a16="http://schemas.microsoft.com/office/drawing/2014/main" id="{A16FD1F9-C160-4C4C-BAF6-716DDB86922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5282EEB0-B664-439C-B943-F7BB43CCAC0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68D40D9B-9DF0-4077-8151-E93B0977AD0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7" name="MoonLegend2">
              <a:extLst>
                <a:ext uri="{FF2B5EF4-FFF2-40B4-BE49-F238E27FC236}">
                  <a16:creationId xmlns:a16="http://schemas.microsoft.com/office/drawing/2014/main" id="{F9F241E8-6251-451F-9BE9-2C8D83F44D6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78B0A0D-F30C-40C1-A9C4-EB63E6138F4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87395151-2586-43D8-B836-6324CB407891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8" name="MoonLegend3">
              <a:extLst>
                <a:ext uri="{FF2B5EF4-FFF2-40B4-BE49-F238E27FC236}">
                  <a16:creationId xmlns:a16="http://schemas.microsoft.com/office/drawing/2014/main" id="{B66D3648-DE5A-4E5C-8578-141D178A4AD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D2DC89B-E4DB-4EBC-B12A-607EB3C23DE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50301F1B-4914-4337-B892-733925FD1C5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09" name="MoonLegend4">
              <a:extLst>
                <a:ext uri="{FF2B5EF4-FFF2-40B4-BE49-F238E27FC236}">
                  <a16:creationId xmlns:a16="http://schemas.microsoft.com/office/drawing/2014/main" id="{69C2ABAA-7291-4A19-A40B-3990AB445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B9D4D141-7E0B-42D0-994A-D8212F69EE2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>
                <a:extLst>
                  <a:ext uri="{FF2B5EF4-FFF2-40B4-BE49-F238E27FC236}">
                    <a16:creationId xmlns:a16="http://schemas.microsoft.com/office/drawing/2014/main" id="{397EC893-9249-44CD-982F-F7F0B99DFCA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  <p:grpSp>
          <p:nvGrpSpPr>
            <p:cNvPr id="210" name="MoonLegend5">
              <a:extLst>
                <a:ext uri="{FF2B5EF4-FFF2-40B4-BE49-F238E27FC236}">
                  <a16:creationId xmlns:a16="http://schemas.microsoft.com/office/drawing/2014/main" id="{CDCE6D47-F48F-4497-BD5A-E92F724CEE3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E8E291C3-4BCA-406E-8B9A-6A354B83EF5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>
                <a:extLst>
                  <a:ext uri="{FF2B5EF4-FFF2-40B4-BE49-F238E27FC236}">
                    <a16:creationId xmlns:a16="http://schemas.microsoft.com/office/drawing/2014/main" id="{4C9C4DC9-D1E5-45F3-943E-09B75E72EE8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2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323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</p:sldLayoutIdLst>
  <p:hf hdr="0" ft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lang="en-US" sz="22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685783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59536" indent="-128585" algn="l" defTabSz="685783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lang="en-US" sz="14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5497">
          <p15:clr>
            <a:srgbClr val="F26B43"/>
          </p15:clr>
        </p15:guide>
        <p15:guide id="6" pos="259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3B5C1E4-DB4B-4893-8883-8AB7A3E35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3543C7-68BA-4C74-BE87-A532A1373B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C26809-D0B9-4273-BE48-431789037C2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7B0268-993D-4341-80B0-C525783E3A26}" type="datetimeFigureOut">
              <a:rPr lang="en-US" smtClean="0"/>
              <a:t>10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821206-5AB9-4D17-B7DE-FDA1F787EF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19ADE-813D-4DB3-B0AF-576379519F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255259-1F53-4493-A9BB-251DB4B1412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94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713B8FF0-B949-418A-B884-7856ED3FF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altLang="zh-CN"/>
              <a:t>Click here to edit master title</a:t>
            </a:r>
            <a:endParaRPr lang="zh-CN" alt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D3B3FFB-82AC-4EC9-A398-722C2D7E76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altLang="zh-CN"/>
              <a:t>Click here to edit text</a:t>
            </a:r>
            <a:endParaRPr lang="zh-CN" altLang="en-US"/>
          </a:p>
          <a:p>
            <a:pPr lvl="1"/>
            <a:r>
              <a:rPr lang="en-US" altLang="zh-CN"/>
              <a:t>Second level</a:t>
            </a:r>
            <a:endParaRPr lang="zh-CN" altLang="en-US"/>
          </a:p>
          <a:p>
            <a:pPr lvl="2"/>
            <a:r>
              <a:rPr lang="en-US" altLang="zh-CN"/>
              <a:t>Third level</a:t>
            </a:r>
            <a:endParaRPr lang="zh-CN" altLang="en-US"/>
          </a:p>
          <a:p>
            <a:pPr lvl="3"/>
            <a:r>
              <a:rPr lang="en-US" altLang="zh-CN"/>
              <a:t>Forth level</a:t>
            </a:r>
            <a:endParaRPr lang="zh-CN" altLang="en-US"/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1977E61-00A2-43A0-9328-9D066838A9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4668EC-92F0-4572-9577-023BA49E05D2}" type="datetime1">
              <a:rPr lang="en-US" altLang="zh-CN" smtClean="0"/>
              <a:pPr/>
              <a:t>10/21/2020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C850DC4-B6F4-4C90-A6C9-8DF7DE7F5E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C65AC83-998D-49FC-8885-4FB383A93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65506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 baseline="0">
          <a:solidFill>
            <a:schemeClr val="tx1"/>
          </a:solidFill>
          <a:latin typeface="Segoe UI Semibold" panose="020B0702040204020203" pitchFamily="34" charset="0"/>
          <a:ea typeface="+mj-ea"/>
          <a:cs typeface="Segoe UI Semibold" panose="020B07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38526"/>
        </a:buClr>
        <a:buFont typeface="Arial" panose="020B0604020202020204" pitchFamily="34" charset="0"/>
        <a:buChar char="•"/>
        <a:defRPr sz="3200" kern="1200" baseline="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66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Courier New" panose="02070309020205020404" pitchFamily="49" charset="0"/>
        <a:buChar char="o"/>
        <a:defRPr sz="28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§"/>
        <a:defRPr sz="24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51000" indent="-279400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Ø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116138" indent="-287338" algn="l" defTabSz="914400" rtl="0" eaLnBrk="1" latinLnBrk="0" hangingPunct="1">
        <a:lnSpc>
          <a:spcPct val="90000"/>
        </a:lnSpc>
        <a:spcBef>
          <a:spcPts val="500"/>
        </a:spcBef>
        <a:buClr>
          <a:srgbClr val="E38526"/>
        </a:buClr>
        <a:buFont typeface="Wingdings" panose="05000000000000000000" pitchFamily="2" charset="2"/>
        <a:buChar char="v"/>
        <a:defRPr sz="2000" kern="1200">
          <a:solidFill>
            <a:schemeClr val="accent1">
              <a:lumMod val="50000"/>
            </a:schemeClr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6654" y="1958196"/>
            <a:ext cx="6678954" cy="1437045"/>
          </a:xfrm>
        </p:spPr>
        <p:txBody>
          <a:bodyPr/>
          <a:lstStyle/>
          <a:p>
            <a:pPr algn="ctr"/>
            <a:r>
              <a:rPr lang="en-US" altLang="zh-CN" sz="2400" b="1" dirty="0">
                <a:latin typeface="Segoe SemiBold"/>
              </a:rPr>
              <a:t>Board of Elementary and Secondary Education</a:t>
            </a:r>
            <a:br>
              <a:rPr lang="en-US" altLang="zh-CN" sz="2400" b="1" dirty="0">
                <a:latin typeface="Segoe SemiBold"/>
              </a:rPr>
            </a:br>
            <a:endParaRPr lang="en-US" sz="2400" b="1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5532408" y="3560527"/>
            <a:ext cx="6659592" cy="826214"/>
          </a:xfrm>
        </p:spPr>
        <p:txBody>
          <a:bodyPr/>
          <a:lstStyle/>
          <a:p>
            <a:pPr algn="ctr"/>
            <a:r>
              <a:rPr lang="en-US" altLang="zh-CN" sz="2400" b="1" dirty="0">
                <a:latin typeface="Segoe SemiBold"/>
              </a:rPr>
              <a:t>Update from the Commissioner</a:t>
            </a:r>
            <a:endParaRPr lang="en-US" dirty="0"/>
          </a:p>
          <a:p>
            <a:pPr algn="ctr"/>
            <a:r>
              <a:rPr lang="en-US"/>
              <a:t>October 20, </a:t>
            </a:r>
            <a:r>
              <a:rPr lang="en-US" dirty="0"/>
              <a:t>2020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D5E768-01AB-4487-BC11-3D2A24FCC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" y="332469"/>
            <a:ext cx="11517085" cy="1180646"/>
          </a:xfrm>
        </p:spPr>
        <p:txBody>
          <a:bodyPr>
            <a:noAutofit/>
          </a:bodyPr>
          <a:lstStyle/>
          <a:p>
            <a:r>
              <a:rPr lang="en-US" sz="2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udits to Monitor Access to Quality Instruction in School Year 2020-21</a:t>
            </a:r>
            <a:br>
              <a:rPr lang="en-US" sz="26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sz="26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EA1BAF-FFEC-47A4-A65D-7913716D52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72143" y="1056142"/>
            <a:ext cx="11081657" cy="1493837"/>
          </a:xfrm>
        </p:spPr>
        <p:txBody>
          <a:bodyPr/>
          <a:lstStyle/>
          <a:p>
            <a:pPr marL="0" marR="0" indent="0" fontAlgn="base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Goal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During school year 2020-21, DESE will review targeted LEAs to determine whether districts and schools are: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804863" marR="0" lvl="0" indent="-293688" fontAlgn="base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nsuring appropriate access to in-person instruction based on local health conditions, and/or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804863" marR="0" lvl="0" indent="-293688" fontAlgn="base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roviding a robust remote learning program. 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804863" marR="0" lvl="0" indent="-293688" fontAlgn="base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eeting Structured Learning Time requirements.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9C0B07C-6042-442A-9B4F-10AC72FFE7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1128" y="2382724"/>
            <a:ext cx="10983686" cy="4351338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reas for Review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: During reviews, DESE will collect data, documentation, and other artifacts to assess one or more of the following: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8A7E089-95B5-41FF-B517-FFF9297AA3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4442458"/>
              </p:ext>
            </p:extLst>
          </p:nvPr>
        </p:nvGraphicFramePr>
        <p:xfrm>
          <a:off x="435426" y="2975995"/>
          <a:ext cx="11244943" cy="3682783"/>
        </p:xfrm>
        <a:graphic>
          <a:graphicData uri="http://schemas.openxmlformats.org/drawingml/2006/table">
            <a:tbl>
              <a:tblPr firstRow="1" firstCol="1" bandRow="1"/>
              <a:tblGrid>
                <a:gridCol w="2918200">
                  <a:extLst>
                    <a:ext uri="{9D8B030D-6E8A-4147-A177-3AD203B41FA5}">
                      <a16:colId xmlns:a16="http://schemas.microsoft.com/office/drawing/2014/main" val="2932364701"/>
                    </a:ext>
                  </a:extLst>
                </a:gridCol>
                <a:gridCol w="8326743">
                  <a:extLst>
                    <a:ext uri="{9D8B030D-6E8A-4147-A177-3AD203B41FA5}">
                      <a16:colId xmlns:a16="http://schemas.microsoft.com/office/drawing/2014/main" val="3671779175"/>
                    </a:ext>
                  </a:extLst>
                </a:gridCol>
              </a:tblGrid>
              <a:tr h="222898"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rea</a:t>
                      </a:r>
                      <a:r>
                        <a:rPr lang="en-US" sz="18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38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uiding Questions</a:t>
                      </a:r>
                      <a:endParaRPr lang="en-US" sz="1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38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257572"/>
                  </a:ext>
                </a:extLst>
              </a:tr>
              <a:tr h="456115">
                <a:tc rowSpan="2">
                  <a:txBody>
                    <a:bodyPr/>
                    <a:lstStyle/>
                    <a:p>
                      <a:pPr marL="5715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earning Model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s the LEA appropriately using DPH COVID-19 health metrics to inform its learning model?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3676153"/>
                  </a:ext>
                </a:extLst>
              </a:tr>
              <a:tr h="2228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es the LEA have a clear plan to return to in-person instruction?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6635137"/>
                  </a:ext>
                </a:extLst>
              </a:tr>
              <a:tr h="222898">
                <a:tc rowSpan="2">
                  <a:txBody>
                    <a:bodyPr/>
                    <a:lstStyle/>
                    <a:p>
                      <a:pPr marL="5715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earning Time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s the LEA meeting Structured Learning Time requirements?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064894"/>
                  </a:ext>
                </a:extLst>
              </a:tr>
              <a:tr h="2228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s the LEA monitoring attendance and participation?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244566"/>
                  </a:ext>
                </a:extLst>
              </a:tr>
              <a:tr h="222898">
                <a:tc rowSpan="2">
                  <a:txBody>
                    <a:bodyPr/>
                    <a:lstStyle/>
                    <a:p>
                      <a:pPr marL="5715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cademic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 course content aligned to MA Curriculum Frameworks?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0575480"/>
                  </a:ext>
                </a:extLst>
              </a:tr>
              <a:tr h="45611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s the LEA issuing grades for remote academic work consistent with in-person learning?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542221"/>
                  </a:ext>
                </a:extLst>
              </a:tr>
              <a:tr h="689331">
                <a:tc>
                  <a:txBody>
                    <a:bodyPr/>
                    <a:lstStyle/>
                    <a:p>
                      <a:pPr marL="5715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amily Communication</a:t>
                      </a: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re teachers and administrators regularly communicating with students and students’ parents and guardians, including providing interpretation and translation services?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279507"/>
                  </a:ext>
                </a:extLst>
              </a:tr>
              <a:tr h="222898">
                <a:tc rowSpan="2">
                  <a:txBody>
                    <a:bodyPr/>
                    <a:lstStyle/>
                    <a:p>
                      <a:pPr marL="5715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 Student Populations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re students with disabilities receiving required and appropriate services?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6074430"/>
                  </a:ext>
                </a:extLst>
              </a:tr>
              <a:tr h="22289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68580" marR="0" fontAlgn="base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re English Learners receiving required and appropriate services?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4657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59967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2727C5C4-158B-4FC3-A8A5-2723AA84A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513" y="365125"/>
            <a:ext cx="11255829" cy="1325563"/>
          </a:xfrm>
        </p:spPr>
        <p:txBody>
          <a:bodyPr>
            <a:normAutofit/>
          </a:bodyPr>
          <a:lstStyle/>
          <a:p>
            <a:r>
              <a:rPr lang="en-US" sz="2800" b="1" dirty="0"/>
              <a:t>Positive COVID-19 cases as reported to the Department of Elementary and Secondary Education (DESE) by Local Education Agencies (LEAs) including school districts, charter schools, and collaboratives. </a:t>
            </a:r>
          </a:p>
        </p:txBody>
      </p:sp>
      <p:graphicFrame>
        <p:nvGraphicFramePr>
          <p:cNvPr id="18" name="Table 18">
            <a:extLst>
              <a:ext uri="{FF2B5EF4-FFF2-40B4-BE49-F238E27FC236}">
                <a16:creationId xmlns:a16="http://schemas.microsoft.com/office/drawing/2014/main" id="{252FFB5B-4D82-4B69-B666-13755CB7DB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1705900"/>
              </p:ext>
            </p:extLst>
          </p:nvPr>
        </p:nvGraphicFramePr>
        <p:xfrm>
          <a:off x="522513" y="1825624"/>
          <a:ext cx="11255830" cy="4041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1066">
                  <a:extLst>
                    <a:ext uri="{9D8B030D-6E8A-4147-A177-3AD203B41FA5}">
                      <a16:colId xmlns:a16="http://schemas.microsoft.com/office/drawing/2014/main" val="1368740405"/>
                    </a:ext>
                  </a:extLst>
                </a:gridCol>
                <a:gridCol w="1952179">
                  <a:extLst>
                    <a:ext uri="{9D8B030D-6E8A-4147-A177-3AD203B41FA5}">
                      <a16:colId xmlns:a16="http://schemas.microsoft.com/office/drawing/2014/main" val="1795720945"/>
                    </a:ext>
                  </a:extLst>
                </a:gridCol>
                <a:gridCol w="2052542">
                  <a:extLst>
                    <a:ext uri="{9D8B030D-6E8A-4147-A177-3AD203B41FA5}">
                      <a16:colId xmlns:a16="http://schemas.microsoft.com/office/drawing/2014/main" val="4115417702"/>
                    </a:ext>
                  </a:extLst>
                </a:gridCol>
                <a:gridCol w="2770043">
                  <a:extLst>
                    <a:ext uri="{9D8B030D-6E8A-4147-A177-3AD203B41FA5}">
                      <a16:colId xmlns:a16="http://schemas.microsoft.com/office/drawing/2014/main" val="921042037"/>
                    </a:ext>
                  </a:extLst>
                </a:gridCol>
              </a:tblGrid>
              <a:tr h="750577"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tud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taf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9293202"/>
                  </a:ext>
                </a:extLst>
              </a:tr>
              <a:tr h="750577">
                <a:tc>
                  <a:txBody>
                    <a:bodyPr/>
                    <a:lstStyle/>
                    <a:p>
                      <a:r>
                        <a:rPr lang="en-US" sz="2400" dirty="0"/>
                        <a:t>Week 1: 9/24 - 9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4335452"/>
                  </a:ext>
                </a:extLst>
              </a:tr>
              <a:tr h="750577">
                <a:tc>
                  <a:txBody>
                    <a:bodyPr/>
                    <a:lstStyle/>
                    <a:p>
                      <a:r>
                        <a:rPr lang="en-US" sz="2400" dirty="0"/>
                        <a:t>Week 2: 10/1 – 10/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2872164"/>
                  </a:ext>
                </a:extLst>
              </a:tr>
              <a:tr h="750577">
                <a:tc>
                  <a:txBody>
                    <a:bodyPr/>
                    <a:lstStyle/>
                    <a:p>
                      <a:r>
                        <a:rPr lang="en-US" sz="2400" dirty="0"/>
                        <a:t>Week 3: 10/8 - 10/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6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7794789"/>
                  </a:ext>
                </a:extLst>
              </a:tr>
              <a:tr h="1039465">
                <a:tc>
                  <a:txBody>
                    <a:bodyPr/>
                    <a:lstStyle/>
                    <a:p>
                      <a:r>
                        <a:rPr lang="en-US" sz="2400" dirty="0"/>
                        <a:t>Week 4:  10/15 – 10/21</a:t>
                      </a:r>
                    </a:p>
                    <a:p>
                      <a:r>
                        <a:rPr lang="en-US" sz="2400" dirty="0"/>
                        <a:t>Current Repor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0723118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5DF3A126-55B6-4038-964D-C80FAF6C3DF5}"/>
              </a:ext>
            </a:extLst>
          </p:cNvPr>
          <p:cNvSpPr txBox="1"/>
          <p:nvPr/>
        </p:nvSpPr>
        <p:spPr>
          <a:xfrm>
            <a:off x="609600" y="5867397"/>
            <a:ext cx="8088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ports are posted on the DESE COVID-19 web page every Thursday</a:t>
            </a:r>
          </a:p>
        </p:txBody>
      </p:sp>
    </p:spTree>
    <p:extLst>
      <p:ext uri="{BB962C8B-B14F-4D97-AF65-F5344CB8AC3E}">
        <p14:creationId xmlns:p14="http://schemas.microsoft.com/office/powerpoint/2010/main" val="2573024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OXtdSuox6Lt0s4FLA0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NLusCFOya.iVh4ubix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EhcesW0CHoBVP.RZvL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q_lebdFlPrTXB9fMT4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.jaZV2t50WPSHTUtWp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P_.gIZGQPXw.fS0dZN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iyB.KA1w5Zf6omJ8w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mPCKC9nVYO1Uqs5KvPb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e3BZqfYDGOVAxJrfDm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UTfoCa07OVAmOGtXHm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HuO0.8Pky3Fso9DP9x8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W.o98SoiFy91A3BEm45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b7IqASrXgBhCh1Cqos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heme/theme1.xml><?xml version="1.0" encoding="utf-8"?>
<a:theme xmlns:a="http://schemas.openxmlformats.org/drawingml/2006/main" name="White">
  <a:themeElements>
    <a:clrScheme name="Scheme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D83"/>
      </a:accent1>
      <a:accent2>
        <a:srgbClr val="7B9CED"/>
      </a:accent2>
      <a:accent3>
        <a:srgbClr val="1B56E9"/>
      </a:accent3>
      <a:accent4>
        <a:srgbClr val="DDA037"/>
      </a:accent4>
      <a:accent5>
        <a:srgbClr val="A1A3A5"/>
      </a:accent5>
      <a:accent6>
        <a:srgbClr val="CFCFCF"/>
      </a:accent6>
      <a:hlink>
        <a:srgbClr val="0000FF"/>
      </a:hlink>
      <a:folHlink>
        <a:srgbClr val="80008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D83"/>
        </a:accent1>
        <a:accent2>
          <a:srgbClr val="7B9CED"/>
        </a:accent2>
        <a:accent3>
          <a:srgbClr val="1B56E9"/>
        </a:accent3>
        <a:accent4>
          <a:srgbClr val="DDA037"/>
        </a:accent4>
        <a:accent5>
          <a:srgbClr val="A1A3A5"/>
        </a:accent5>
        <a:accent6>
          <a:srgbClr val="CFCFCF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0734_OFF.potx" id="{08D715AD-96AF-4FD3-9DE8-B402379307F2}" vid="{10BDF7FB-8CBB-46DA-AD6B-D39AED6385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ESE​​">
  <a:themeElements>
    <a:clrScheme name="ESE color scheme">
      <a:dk1>
        <a:srgbClr val="203B6A"/>
      </a:dk1>
      <a:lt1>
        <a:sysClr val="window" lastClr="FFFFFF"/>
      </a:lt1>
      <a:dk2>
        <a:srgbClr val="203B6A"/>
      </a:dk2>
      <a:lt2>
        <a:srgbClr val="E7E6E6"/>
      </a:lt2>
      <a:accent1>
        <a:srgbClr val="203B6A"/>
      </a:accent1>
      <a:accent2>
        <a:srgbClr val="ED7D31"/>
      </a:accent2>
      <a:accent3>
        <a:srgbClr val="FFC000"/>
      </a:accent3>
      <a:accent4>
        <a:srgbClr val="0563C1"/>
      </a:accent4>
      <a:accent5>
        <a:srgbClr val="00B050"/>
      </a:accent5>
      <a:accent6>
        <a:srgbClr val="FFFF00"/>
      </a:accent6>
      <a:hlink>
        <a:srgbClr val="0563C1"/>
      </a:hlink>
      <a:folHlink>
        <a:srgbClr val="954F72"/>
      </a:folHlink>
    </a:clrScheme>
    <a:fontScheme name="ESE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4261BFE874874F899C38CF9C771BFF" ma:contentTypeVersion="7" ma:contentTypeDescription="Create a new document." ma:contentTypeScope="" ma:versionID="1a175f6fd76af162c8631baf02b0c7de">
  <xsd:schema xmlns:xsd="http://www.w3.org/2001/XMLSchema" xmlns:xs="http://www.w3.org/2001/XMLSchema" xmlns:p="http://schemas.microsoft.com/office/2006/metadata/properties" xmlns:ns2="0a4e05da-b9bc-4326-ad73-01ef31b95567" xmlns:ns3="733efe1c-5bbe-4968-87dc-d400e65c879f" targetNamespace="http://schemas.microsoft.com/office/2006/metadata/properties" ma:root="true" ma:fieldsID="18e3a758e1be3a571da4157f53c3d381" ns2:_="" ns3:_="">
    <xsd:import namespace="0a4e05da-b9bc-4326-ad73-01ef31b95567"/>
    <xsd:import namespace="733efe1c-5bbe-4968-87dc-d400e65c879f"/>
    <xsd:element name="properties">
      <xsd:complexType>
        <xsd:sequence>
          <xsd:element name="documentManagement">
            <xsd:complexType>
              <xsd:all>
                <xsd:element ref="ns2:_vti_RoutingExistingPropertie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4e05da-b9bc-4326-ad73-01ef31b95567" elementFormDefault="qualified">
    <xsd:import namespace="http://schemas.microsoft.com/office/2006/documentManagement/types"/>
    <xsd:import namespace="http://schemas.microsoft.com/office/infopath/2007/PartnerControls"/>
    <xsd:element name="_vti_RoutingExistingProperties" ma:index="8" nillable="true" ma:displayName="Original Properties" ma:description="" ma:hidden="true" ma:internalName="_vti_RoutingExistingPropertie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3efe1c-5bbe-4968-87dc-d400e65c879f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ti_RoutingExistingProperties xmlns="0a4e05da-b9bc-4326-ad73-01ef31b95567" xsi:nil="true"/>
    <_dlc_DocIdPersistId xmlns="733efe1c-5bbe-4968-87dc-d400e65c879f">true</_dlc_DocIdPersistId>
    <_dlc_DocId xmlns="733efe1c-5bbe-4968-87dc-d400e65c879f">DESE-231-65441</_dlc_DocId>
    <_dlc_DocIdUrl xmlns="733efe1c-5bbe-4968-87dc-d400e65c879f">
      <Url>https://sharepoint.doemass.org/ese/webteam/cps/_layouts/DocIdRedir.aspx?ID=DESE-231-65441</Url>
      <Description>DESE-231-65441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ropOffZoneRoutingForm</Edit>
  <New>DocumentLibraryForm</New>
</FormTemplates>
</file>

<file path=customXml/itemProps1.xml><?xml version="1.0" encoding="utf-8"?>
<ds:datastoreItem xmlns:ds="http://schemas.openxmlformats.org/officeDocument/2006/customXml" ds:itemID="{93F27513-2A2F-44B8-954A-760B9D60B4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4e05da-b9bc-4326-ad73-01ef31b95567"/>
    <ds:schemaRef ds:uri="733efe1c-5bbe-4968-87dc-d400e65c87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948591-FC3B-4634-B621-544536AF251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0A163624-F102-48A3-BF83-524480A44CE1}">
  <ds:schemaRefs>
    <ds:schemaRef ds:uri="733efe1c-5bbe-4968-87dc-d400e65c879f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0a4e05da-b9bc-4326-ad73-01ef31b95567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A549EB16-5295-4570-994B-4AC79160CAA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</TotalTime>
  <Words>307</Words>
  <Application>Microsoft Office PowerPoint</Application>
  <PresentationFormat>Widescreen</PresentationFormat>
  <Paragraphs>46</Paragraphs>
  <Slides>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9" baseType="lpstr">
      <vt:lpstr>等线</vt:lpstr>
      <vt:lpstr>Arial</vt:lpstr>
      <vt:lpstr>Calibri</vt:lpstr>
      <vt:lpstr>Calibri Light</vt:lpstr>
      <vt:lpstr>Courier New</vt:lpstr>
      <vt:lpstr>Segoe</vt:lpstr>
      <vt:lpstr>Segoe SemiBold</vt:lpstr>
      <vt:lpstr>Segoe UI</vt:lpstr>
      <vt:lpstr>Segoe UI Semibold</vt:lpstr>
      <vt:lpstr>Symbol</vt:lpstr>
      <vt:lpstr>Times New Roman</vt:lpstr>
      <vt:lpstr>Wingdings</vt:lpstr>
      <vt:lpstr>White</vt:lpstr>
      <vt:lpstr>Office Theme</vt:lpstr>
      <vt:lpstr>ESE​​</vt:lpstr>
      <vt:lpstr>think-cell Slide</vt:lpstr>
      <vt:lpstr>Board of Elementary and Secondary Education </vt:lpstr>
      <vt:lpstr>Audits to Monitor Access to Quality Instruction in School Year 2020-21 </vt:lpstr>
      <vt:lpstr>Positive COVID-19 cases as reported to the Department of Elementary and Secondary Education (DESE) by Local Education Agencies (LEAs) including school districts, charter schools, and collaboratives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E October 2020 Item 4 PowerPoint Presentation: COVID Update</dc:title>
  <dc:creator>DESE</dc:creator>
  <cp:lastModifiedBy>Zou, Dong (EOE)</cp:lastModifiedBy>
  <cp:revision>32</cp:revision>
  <cp:lastPrinted>2020-10-20T12:55:16Z</cp:lastPrinted>
  <dcterms:created xsi:type="dcterms:W3CDTF">2020-08-11T14:28:03Z</dcterms:created>
  <dcterms:modified xsi:type="dcterms:W3CDTF">2020-10-21T15:0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Oct 21 2020</vt:lpwstr>
  </property>
</Properties>
</file>